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84" r:id="rId1"/>
  </p:sldMasterIdLst>
  <p:notesMasterIdLst>
    <p:notesMasterId r:id="rId10"/>
  </p:notesMasterIdLst>
  <p:sldIdLst>
    <p:sldId id="257" r:id="rId2"/>
    <p:sldId id="297" r:id="rId3"/>
    <p:sldId id="298" r:id="rId4"/>
    <p:sldId id="292" r:id="rId5"/>
    <p:sldId id="295" r:id="rId6"/>
    <p:sldId id="294" r:id="rId7"/>
    <p:sldId id="293" r:id="rId8"/>
    <p:sldId id="296" r:id="rId9"/>
  </p:sldIdLst>
  <p:sldSz cx="14255750" cy="10691813"/>
  <p:notesSz cx="6797675" cy="9926638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882E68C-826F-4B99-8328-11C069EEF37E}">
          <p14:sldIdLst>
            <p14:sldId id="257"/>
          </p14:sldIdLst>
        </p14:section>
        <p14:section name="Раздел без заголовка" id="{D1252C69-EB24-43BB-910A-DFA8FD00D57D}">
          <p14:sldIdLst>
            <p14:sldId id="297"/>
            <p14:sldId id="298"/>
            <p14:sldId id="292"/>
            <p14:sldId id="295"/>
            <p14:sldId id="294"/>
            <p14:sldId id="293"/>
            <p14:sldId id="29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84" userDrawn="1">
          <p15:clr>
            <a:srgbClr val="A4A3A4"/>
          </p15:clr>
        </p15:guide>
        <p15:guide id="2" pos="50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C63B"/>
    <a:srgbClr val="90B535"/>
    <a:srgbClr val="48BED8"/>
    <a:srgbClr val="A7358B"/>
    <a:srgbClr val="EBBC00"/>
    <a:srgbClr val="C3D770"/>
    <a:srgbClr val="75CCE1"/>
    <a:srgbClr val="9DBD53"/>
    <a:srgbClr val="42C1C7"/>
    <a:srgbClr val="3C3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73" autoAdjust="0"/>
    <p:restoredTop sz="86438" autoAdjust="0"/>
  </p:normalViewPr>
  <p:slideViewPr>
    <p:cSldViewPr snapToGrid="0" showGuides="1">
      <p:cViewPr varScale="1">
        <p:scale>
          <a:sx n="65" d="100"/>
          <a:sy n="65" d="100"/>
        </p:scale>
        <p:origin x="1794" y="78"/>
      </p:cViewPr>
      <p:guideLst>
        <p:guide orient="horz" pos="4184"/>
        <p:guide pos="50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3245" y="48"/>
      </p:cViewPr>
      <p:guideLst/>
    </p:cSldViewPr>
  </p:notesViewPr>
  <p:gridSpacing cx="1800000" cy="180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FB20CC-2954-4348-8C9E-06D3BDD22F7A}" type="datetimeFigureOut">
              <a:rPr lang="ru-RU" smtClean="0"/>
              <a:pPr/>
              <a:t>08.11.2019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9899B7-E1C2-46FD-86D7-55F9E0389FB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625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899B7-E1C2-46FD-86D7-55F9E0389FB2}" type="slidenum">
              <a:rPr lang="ru-RU" smtClean="0"/>
              <a:pPr/>
              <a:t>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9636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899B7-E1C2-46FD-86D7-55F9E0389FB2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26443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899B7-E1C2-46FD-86D7-55F9E0389FB2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94010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899B7-E1C2-46FD-86D7-55F9E0389FB2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8187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181" y="1749795"/>
            <a:ext cx="1211738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81969" y="5615678"/>
            <a:ext cx="106918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6E264-E29A-2B45-8021-2A7208E2DBD1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9930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3CE6B6-6C4C-A345-A4F2-4FB5EBD6B4D2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629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201772" y="569240"/>
            <a:ext cx="3073896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0084" y="569240"/>
            <a:ext cx="9043491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C3C45-0746-524A-A1DE-2C4076234EE9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9267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F260A1-5650-624A-AC66-261709006D2E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79999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2659" y="2665532"/>
            <a:ext cx="12295584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659" y="7155103"/>
            <a:ext cx="12295584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43E8E-771F-0D4E-84B5-8243005EF01B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9991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0083" y="2846200"/>
            <a:ext cx="605869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16973" y="2846200"/>
            <a:ext cx="605869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3034A-316E-6F45-A791-689D9BB006AE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4299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940" y="569242"/>
            <a:ext cx="12295584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1941" y="2620980"/>
            <a:ext cx="6030850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81941" y="3905482"/>
            <a:ext cx="6030850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216974" y="2620980"/>
            <a:ext cx="6060551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216974" y="3905482"/>
            <a:ext cx="6060551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8A4689-FC10-5144-8F2A-F19872DBFCE7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73769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DF0E1-74E5-274C-8CCF-9F650E8E55D2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7338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D4765-7FE8-D047-A7ED-49A97D2962DB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59918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940" y="712788"/>
            <a:ext cx="4597850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60551" y="1539425"/>
            <a:ext cx="7216973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81940" y="3207544"/>
            <a:ext cx="4597850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F1850-E0DA-8D49-A776-2D976024239D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4144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940" y="712788"/>
            <a:ext cx="4597850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60551" y="1539425"/>
            <a:ext cx="7216973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81940" y="3207544"/>
            <a:ext cx="4597850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610E9-654C-5A4D-8767-7D0DB360728B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9581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0083" y="569242"/>
            <a:ext cx="12295584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0083" y="2846200"/>
            <a:ext cx="12295584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80083" y="9909729"/>
            <a:ext cx="320754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666972-B43B-E540-994B-0001E207E409}" type="datetime1">
              <a:rPr lang="ru-RU" smtClean="0"/>
              <a:pPr/>
              <a:t>08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22217" y="9909729"/>
            <a:ext cx="4811316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068123" y="9909729"/>
            <a:ext cx="320754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E86B0D-E0D4-4EB5-802C-A29D86B74E4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7878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6.png"/><Relationship Id="rId5" Type="http://schemas.openxmlformats.org/officeDocument/2006/relationships/image" Target="../media/image3.jpg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2.xml"/><Relationship Id="rId9" Type="http://schemas.microsoft.com/office/2007/relationships/hdphoto" Target="../media/hdphoto1.wdp"/><Relationship Id="rId1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jpg"/><Relationship Id="rId10" Type="http://schemas.openxmlformats.org/officeDocument/2006/relationships/image" Target="../media/image12.jpeg"/><Relationship Id="rId4" Type="http://schemas.openxmlformats.org/officeDocument/2006/relationships/notesSlide" Target="../notesSlides/notesSlide3.xml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4.png"/><Relationship Id="rId5" Type="http://schemas.openxmlformats.org/officeDocument/2006/relationships/image" Target="../media/image3.jpg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4.xml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3.jp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.jp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6.png"/><Relationship Id="rId4" Type="http://schemas.openxmlformats.org/officeDocument/2006/relationships/image" Target="../media/image3.jpg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12" Type="http://schemas.openxmlformats.org/officeDocument/2006/relationships/hyperlink" Target="https://www.instagram.com/dgp143/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hyperlink" Target="https://vk.com/id482564657" TargetMode="External"/><Relationship Id="rId5" Type="http://schemas.openxmlformats.org/officeDocument/2006/relationships/oleObject" Target="../embeddings/oleObject8.bin"/><Relationship Id="rId10" Type="http://schemas.openxmlformats.org/officeDocument/2006/relationships/hyperlink" Target="https://www.facebook.com/gbuzdgp143" TargetMode="External"/><Relationship Id="rId4" Type="http://schemas.openxmlformats.org/officeDocument/2006/relationships/image" Target="../media/image3.jpg"/><Relationship Id="rId9" Type="http://schemas.openxmlformats.org/officeDocument/2006/relationships/hyperlink" Target="http://dgp143.ru/" TargetMode="External"/><Relationship Id="rId14" Type="http://schemas.openxmlformats.org/officeDocument/2006/relationships/image" Target="../media/image18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B0103BF5-289F-4A79-B217-F746D6A7E19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46" b="21558"/>
          <a:stretch/>
        </p:blipFill>
        <p:spPr>
          <a:xfrm>
            <a:off x="0" y="1"/>
            <a:ext cx="14255750" cy="10691812"/>
          </a:xfrm>
          <a:prstGeom prst="rect">
            <a:avLst/>
          </a:prstGeom>
        </p:spPr>
      </p:pic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5036702"/>
              </p:ext>
            </p:extLst>
          </p:nvPr>
        </p:nvGraphicFramePr>
        <p:xfrm>
          <a:off x="334962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49626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Параллелограмм 19"/>
          <p:cNvSpPr/>
          <p:nvPr/>
        </p:nvSpPr>
        <p:spPr>
          <a:xfrm>
            <a:off x="11026366" y="7125965"/>
            <a:ext cx="1691461" cy="2050181"/>
          </a:xfrm>
          <a:prstGeom prst="parallelogram">
            <a:avLst>
              <a:gd name="adj" fmla="val 44304"/>
            </a:avLst>
          </a:prstGeom>
          <a:solidFill>
            <a:srgbClr val="A735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7" name="Group 5"/>
          <p:cNvGrpSpPr/>
          <p:nvPr/>
        </p:nvGrpSpPr>
        <p:grpSpPr>
          <a:xfrm flipH="1" flipV="1">
            <a:off x="2946229" y="8105611"/>
            <a:ext cx="11309521" cy="1449065"/>
            <a:chOff x="3254046" y="4745829"/>
            <a:chExt cx="8934778" cy="1817441"/>
          </a:xfrm>
          <a:solidFill>
            <a:srgbClr val="48BED8"/>
          </a:solidFill>
        </p:grpSpPr>
        <p:sp>
          <p:nvSpPr>
            <p:cNvPr id="18" name="Rectangle 3"/>
            <p:cNvSpPr/>
            <p:nvPr/>
          </p:nvSpPr>
          <p:spPr>
            <a:xfrm>
              <a:off x="3928744" y="4745830"/>
              <a:ext cx="8260080" cy="1817440"/>
            </a:xfrm>
            <a:prstGeom prst="rect">
              <a:avLst/>
            </a:prstGeom>
            <a:solidFill>
              <a:srgbClr val="9FC6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1" name="Right Triangle 2"/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solidFill>
              <a:srgbClr val="9FC63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24" name="Group 5"/>
          <p:cNvGrpSpPr/>
          <p:nvPr/>
        </p:nvGrpSpPr>
        <p:grpSpPr>
          <a:xfrm>
            <a:off x="13034864" y="7779262"/>
            <a:ext cx="1224089" cy="743586"/>
            <a:chOff x="1732479" y="4745831"/>
            <a:chExt cx="10717414" cy="1817442"/>
          </a:xfrm>
          <a:solidFill>
            <a:srgbClr val="EBBC00"/>
          </a:solidFill>
        </p:grpSpPr>
        <p:sp>
          <p:nvSpPr>
            <p:cNvPr id="28" name="Rectangle 3"/>
            <p:cNvSpPr/>
            <p:nvPr/>
          </p:nvSpPr>
          <p:spPr>
            <a:xfrm>
              <a:off x="4087372" y="4745831"/>
              <a:ext cx="8362521" cy="181744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9" name="Right Triangle 2"/>
            <p:cNvSpPr/>
            <p:nvPr/>
          </p:nvSpPr>
          <p:spPr>
            <a:xfrm rot="16200000">
              <a:off x="2001208" y="4477108"/>
              <a:ext cx="1817436" cy="2354893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3385588" y="8552855"/>
            <a:ext cx="10285102" cy="554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28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ПИТАЛЬНЫЙ РЕМОНТ ПОЛИКЛИНИК</a:t>
            </a:r>
          </a:p>
        </p:txBody>
      </p:sp>
    </p:spTree>
    <p:extLst>
      <p:ext uri="{BB962C8B-B14F-4D97-AF65-F5344CB8AC3E}">
        <p14:creationId xmlns:p14="http://schemas.microsoft.com/office/powerpoint/2010/main" val="811182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70000"/>
            <a:lum/>
          </a:blip>
          <a:srcRect/>
          <a:stretch>
            <a:fillRect b="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xmlns="" id="{8C044FF5-E3BE-4002-B9A8-A68C4D4A17C2}"/>
              </a:ext>
            </a:extLst>
          </p:cNvPr>
          <p:cNvGrpSpPr/>
          <p:nvPr/>
        </p:nvGrpSpPr>
        <p:grpSpPr>
          <a:xfrm flipH="1" flipV="1">
            <a:off x="-9227" y="-7650"/>
            <a:ext cx="10217751" cy="939453"/>
            <a:chOff x="3254046" y="4745829"/>
            <a:chExt cx="8934778" cy="1817442"/>
          </a:xfrm>
          <a:solidFill>
            <a:srgbClr val="9FC63B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xmlns="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xmlns="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4962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6" name="Слайд think-cell" r:id="rId6" imgW="180" imgH="180" progId="TCLayout.ActiveDocument.1">
                  <p:embed/>
                </p:oleObj>
              </mc:Choice>
              <mc:Fallback>
                <p:oleObj name="Слайд think-cell" r:id="rId6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34962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-10131" y="10134744"/>
            <a:ext cx="14265882" cy="557071"/>
          </a:xfrm>
          <a:prstGeom prst="rect">
            <a:avLst/>
          </a:prstGeom>
          <a:solidFill>
            <a:srgbClr val="9FC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592345" y="10252497"/>
            <a:ext cx="966235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800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70" y="10095466"/>
            <a:ext cx="644221" cy="644928"/>
          </a:xfrm>
          <a:prstGeom prst="rect">
            <a:avLst/>
          </a:prstGeom>
        </p:spPr>
      </p:pic>
      <p:sp>
        <p:nvSpPr>
          <p:cNvPr id="54" name="Прямоугольник 31">
            <a:extLst>
              <a:ext uri="{FF2B5EF4-FFF2-40B4-BE49-F238E27FC236}">
                <a16:creationId xmlns:a16="http://schemas.microsoft.com/office/drawing/2014/main" xmlns="" id="{27DED578-B753-4908-AB1F-2780AD628A51}"/>
              </a:ext>
            </a:extLst>
          </p:cNvPr>
          <p:cNvSpPr/>
          <p:nvPr/>
        </p:nvSpPr>
        <p:spPr>
          <a:xfrm>
            <a:off x="98691" y="282144"/>
            <a:ext cx="9421358" cy="362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 НАШЕЙ ПОЛИКЛИНИКЕ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BF1A2220-90A9-497F-ADDD-DB8C7A41339C}"/>
              </a:ext>
            </a:extLst>
          </p:cNvPr>
          <p:cNvSpPr/>
          <p:nvPr/>
        </p:nvSpPr>
        <p:spPr>
          <a:xfrm>
            <a:off x="340180" y="1335104"/>
            <a:ext cx="12981682" cy="392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b="1" dirty="0">
                <a:solidFill>
                  <a:srgbClr val="9FC6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сле капитального ремонта наша поликлиника преобразится. 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5EB05986-5231-46F3-9FA9-61745351D5A5}"/>
              </a:ext>
            </a:extLst>
          </p:cNvPr>
          <p:cNvSpPr/>
          <p:nvPr/>
        </p:nvSpPr>
        <p:spPr>
          <a:xfrm>
            <a:off x="111928" y="2633876"/>
            <a:ext cx="4393096" cy="55707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A6DF0041-84D2-4070-8D0C-F39FA3024686}"/>
              </a:ext>
            </a:extLst>
          </p:cNvPr>
          <p:cNvSpPr/>
          <p:nvPr/>
        </p:nvSpPr>
        <p:spPr>
          <a:xfrm>
            <a:off x="4870440" y="2633875"/>
            <a:ext cx="4393096" cy="557071"/>
          </a:xfrm>
          <a:prstGeom prst="rect">
            <a:avLst/>
          </a:prstGeom>
          <a:solidFill>
            <a:srgbClr val="A735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940F30B7-CA77-4DEC-9493-A19EC8418B51}"/>
              </a:ext>
            </a:extLst>
          </p:cNvPr>
          <p:cNvSpPr/>
          <p:nvPr/>
        </p:nvSpPr>
        <p:spPr>
          <a:xfrm>
            <a:off x="9628952" y="2633876"/>
            <a:ext cx="4393096" cy="557071"/>
          </a:xfrm>
          <a:prstGeom prst="rect">
            <a:avLst/>
          </a:prstGeom>
          <a:solidFill>
            <a:srgbClr val="90B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04FFAEBF-151D-425D-B724-2C1DF7794333}"/>
              </a:ext>
            </a:extLst>
          </p:cNvPr>
          <p:cNvSpPr/>
          <p:nvPr/>
        </p:nvSpPr>
        <p:spPr>
          <a:xfrm>
            <a:off x="1558580" y="3933098"/>
            <a:ext cx="3413443" cy="1051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диный стандарт оснащения оборудованием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F78B4059-53BC-464D-9A61-AAE5EBB3948E}"/>
              </a:ext>
            </a:extLst>
          </p:cNvPr>
          <p:cNvSpPr/>
          <p:nvPr/>
        </p:nvSpPr>
        <p:spPr>
          <a:xfrm>
            <a:off x="1652094" y="5326926"/>
            <a:ext cx="2924540" cy="1709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вашей поликлинике будет единый стандарт набора специалистов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D93BCE85-770D-406E-A3B4-E451ABE4A6C7}"/>
              </a:ext>
            </a:extLst>
          </p:cNvPr>
          <p:cNvSpPr/>
          <p:nvPr/>
        </p:nvSpPr>
        <p:spPr>
          <a:xfrm>
            <a:off x="1580483" y="7350038"/>
            <a:ext cx="2924541" cy="1051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амые посещаемые кабинеты – на нижних этажах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3E783BD9-BA25-4C90-BD22-E1859C8E00AE}"/>
              </a:ext>
            </a:extLst>
          </p:cNvPr>
          <p:cNvSpPr/>
          <p:nvPr/>
        </p:nvSpPr>
        <p:spPr>
          <a:xfrm>
            <a:off x="6423241" y="3864518"/>
            <a:ext cx="3118653" cy="1051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мена аналогового оборудования на цифровое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DB6BEFCB-39DA-4E1F-BEBC-8AA902761B34}"/>
              </a:ext>
            </a:extLst>
          </p:cNvPr>
          <p:cNvSpPr/>
          <p:nvPr/>
        </p:nvSpPr>
        <p:spPr>
          <a:xfrm>
            <a:off x="6413018" y="5350941"/>
            <a:ext cx="2924540" cy="1709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инеты врачей и функциональная диагностика по одному профилю – на одном этаже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826F4E36-0AFC-4C8B-8419-4ACA3FC54C89}"/>
              </a:ext>
            </a:extLst>
          </p:cNvPr>
          <p:cNvSpPr/>
          <p:nvPr/>
        </p:nvSpPr>
        <p:spPr>
          <a:xfrm>
            <a:off x="11190089" y="4009003"/>
            <a:ext cx="3842732" cy="392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уфет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0020100E-BA15-409E-B742-8C0662B9AC3A}"/>
              </a:ext>
            </a:extLst>
          </p:cNvPr>
          <p:cNvSpPr/>
          <p:nvPr/>
        </p:nvSpPr>
        <p:spPr>
          <a:xfrm>
            <a:off x="11190089" y="5326926"/>
            <a:ext cx="3065661" cy="1051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добная планировка и открытые пространства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B7F34E85-F4AD-4DD7-8988-F01A9ECBEF36}"/>
              </a:ext>
            </a:extLst>
          </p:cNvPr>
          <p:cNvSpPr/>
          <p:nvPr/>
        </p:nvSpPr>
        <p:spPr>
          <a:xfrm>
            <a:off x="1075462" y="2684103"/>
            <a:ext cx="3842732" cy="392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СТУПНОСТЬ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24822BCD-DB60-4B01-8E6B-A583C751E894}"/>
              </a:ext>
            </a:extLst>
          </p:cNvPr>
          <p:cNvSpPr/>
          <p:nvPr/>
        </p:nvSpPr>
        <p:spPr>
          <a:xfrm>
            <a:off x="5494826" y="2678329"/>
            <a:ext cx="3842732" cy="392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ХНОЛОГИЧНОСТЬ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A5361EA4-0357-470C-A45F-EA4EB553350F}"/>
              </a:ext>
            </a:extLst>
          </p:cNvPr>
          <p:cNvSpPr/>
          <p:nvPr/>
        </p:nvSpPr>
        <p:spPr>
          <a:xfrm>
            <a:off x="10744552" y="2693950"/>
            <a:ext cx="3842732" cy="392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КРЫТОСТЬ</a:t>
            </a: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xmlns="" id="{D41FBF56-9FAD-4800-A9AE-A4F7EC706007}"/>
              </a:ext>
            </a:extLst>
          </p:cNvPr>
          <p:cNvPicPr>
            <a:picLocks noChangeAspect="1"/>
          </p:cNvPicPr>
          <p:nvPr/>
        </p:nvPicPr>
        <p:blipFill>
          <a:blip r:embed="rId10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28" y="3795794"/>
            <a:ext cx="1374987" cy="1366366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40CA27AA-3B76-4A9F-89C3-788EB218DDE3}"/>
              </a:ext>
            </a:extLst>
          </p:cNvPr>
          <p:cNvPicPr>
            <a:picLocks noChangeAspect="1"/>
          </p:cNvPicPr>
          <p:nvPr/>
        </p:nvPicPr>
        <p:blipFill>
          <a:blip r:embed="rId1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38" y="5243576"/>
            <a:ext cx="1324275" cy="1315973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xmlns="" id="{98730499-EC2A-46A2-8669-6DC492FA753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19" y="7172098"/>
            <a:ext cx="1275517" cy="1267521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xmlns="" id="{F1BD2A82-113D-4D64-8EE3-A228B6CD68A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370" y="3923287"/>
            <a:ext cx="1057753" cy="1051121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xmlns="" id="{D6923902-BD19-4F45-8A0F-90DAE7EB523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440" y="5649048"/>
            <a:ext cx="1057752" cy="1051120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xmlns="" id="{F4C01442-63A3-4492-8E6E-FE7FC3B4526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prstClr val="black"/>
              <a:srgbClr val="90B535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7439" y="5401365"/>
            <a:ext cx="1057753" cy="1051121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BB69ADD9-D147-4406-A2C7-D5E323E8D446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prstClr val="black"/>
              <a:srgbClr val="90B535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8952" y="3739860"/>
            <a:ext cx="1034728" cy="1025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5577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70000"/>
            <a:lum/>
          </a:blip>
          <a:srcRect/>
          <a:stretch>
            <a:fillRect b="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xmlns="" id="{8C044FF5-E3BE-4002-B9A8-A68C4D4A17C2}"/>
              </a:ext>
            </a:extLst>
          </p:cNvPr>
          <p:cNvGrpSpPr/>
          <p:nvPr/>
        </p:nvGrpSpPr>
        <p:grpSpPr>
          <a:xfrm flipH="1" flipV="1">
            <a:off x="-9227" y="-7650"/>
            <a:ext cx="10217751" cy="939453"/>
            <a:chOff x="3254046" y="4745829"/>
            <a:chExt cx="8934778" cy="1817442"/>
          </a:xfrm>
          <a:solidFill>
            <a:srgbClr val="9FC63B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xmlns="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xmlns="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4962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9" name="Слайд think-cell" r:id="rId6" imgW="180" imgH="180" progId="TCLayout.ActiveDocument.1">
                  <p:embed/>
                </p:oleObj>
              </mc:Choice>
              <mc:Fallback>
                <p:oleObj name="Слайд think-cell" r:id="rId6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34962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-10131" y="10134744"/>
            <a:ext cx="14265882" cy="557071"/>
          </a:xfrm>
          <a:prstGeom prst="rect">
            <a:avLst/>
          </a:prstGeom>
          <a:solidFill>
            <a:srgbClr val="9FC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592345" y="10252497"/>
            <a:ext cx="966235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800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70" y="10095466"/>
            <a:ext cx="644221" cy="644928"/>
          </a:xfrm>
          <a:prstGeom prst="rect">
            <a:avLst/>
          </a:prstGeom>
        </p:spPr>
      </p:pic>
      <p:sp>
        <p:nvSpPr>
          <p:cNvPr id="54" name="Прямоугольник 31">
            <a:extLst>
              <a:ext uri="{FF2B5EF4-FFF2-40B4-BE49-F238E27FC236}">
                <a16:creationId xmlns:a16="http://schemas.microsoft.com/office/drawing/2014/main" xmlns="" id="{27DED578-B753-4908-AB1F-2780AD628A51}"/>
              </a:ext>
            </a:extLst>
          </p:cNvPr>
          <p:cNvSpPr/>
          <p:nvPr/>
        </p:nvSpPr>
        <p:spPr>
          <a:xfrm>
            <a:off x="98691" y="282144"/>
            <a:ext cx="9421358" cy="362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 НАШЕЙ ПОЛИКЛИНИКЕ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C2BB8A74-A93E-4B65-B4B0-5455B988DDE1}"/>
              </a:ext>
            </a:extLst>
          </p:cNvPr>
          <p:cNvSpPr/>
          <p:nvPr/>
        </p:nvSpPr>
        <p:spPr>
          <a:xfrm>
            <a:off x="662291" y="2862938"/>
            <a:ext cx="7369626" cy="60804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 algn="just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2800" dirty="0"/>
              <a:t>Государственное бюджетное учреждение здравоохранения "Детская городская поликлиника № 143 Департамента здравоохранения города Москвы" Филиал № </a:t>
            </a:r>
            <a:r>
              <a:rPr lang="ru-RU" sz="2800" dirty="0" smtClean="0"/>
              <a:t>5. </a:t>
            </a:r>
          </a:p>
          <a:p>
            <a:pPr marL="180975" algn="just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28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Адрес: </a:t>
            </a:r>
            <a:r>
              <a:rPr lang="ru-RU" sz="2800" dirty="0"/>
              <a:t>111674, улица 1-я Вольская, д.3 </a:t>
            </a:r>
            <a:r>
              <a:rPr lang="ru-RU" sz="2800" dirty="0" smtClean="0"/>
              <a:t>к.1</a:t>
            </a:r>
          </a:p>
          <a:p>
            <a:pPr marL="180975" algn="just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28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Год постройки: 2000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28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ятиэтажное здание </a:t>
            </a:r>
            <a:r>
              <a:rPr lang="ru-RU" sz="28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остроено по проекту "поликлиника для детского и взрослого </a:t>
            </a:r>
            <a:r>
              <a:rPr lang="ru-RU" sz="28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населения».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28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За все время работы капитальный ремонт здания не проводился.</a:t>
            </a:r>
            <a:endParaRPr lang="ru-RU" sz="28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63DB576D-F473-4428-94DF-1E9C6157E9EC}"/>
              </a:ext>
            </a:extLst>
          </p:cNvPr>
          <p:cNvSpPr/>
          <p:nvPr/>
        </p:nvSpPr>
        <p:spPr>
          <a:xfrm>
            <a:off x="9436944" y="3631407"/>
            <a:ext cx="3526946" cy="35269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4C2AA04D-A62D-449D-8298-4BB66BFCC33C}"/>
              </a:ext>
            </a:extLst>
          </p:cNvPr>
          <p:cNvSpPr txBox="1"/>
          <p:nvPr/>
        </p:nvSpPr>
        <p:spPr>
          <a:xfrm>
            <a:off x="10181809" y="5138171"/>
            <a:ext cx="20372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/>
              <a:t>Фото поликлиники</a:t>
            </a:r>
          </a:p>
        </p:txBody>
      </p:sp>
      <p:pic>
        <p:nvPicPr>
          <p:cNvPr id="14" name="Объект 4"/>
          <p:cNvPicPr>
            <a:picLocks noGrp="1" noChangeAspect="1"/>
          </p:cNvPicPr>
          <p:nvPr>
            <p:ph sz="half" idx="1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303" y="3083680"/>
            <a:ext cx="5071540" cy="4585481"/>
          </a:xfrm>
        </p:spPr>
      </p:pic>
    </p:spTree>
    <p:extLst>
      <p:ext uri="{BB962C8B-B14F-4D97-AF65-F5344CB8AC3E}">
        <p14:creationId xmlns:p14="http://schemas.microsoft.com/office/powerpoint/2010/main" val="36654681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70000"/>
            <a:lum/>
          </a:blip>
          <a:srcRect/>
          <a:stretch>
            <a:fillRect b="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xmlns="" id="{8C044FF5-E3BE-4002-B9A8-A68C4D4A17C2}"/>
              </a:ext>
            </a:extLst>
          </p:cNvPr>
          <p:cNvGrpSpPr/>
          <p:nvPr/>
        </p:nvGrpSpPr>
        <p:grpSpPr>
          <a:xfrm flipH="1" flipV="1">
            <a:off x="-9227" y="-7650"/>
            <a:ext cx="10217751" cy="939453"/>
            <a:chOff x="3254046" y="4745829"/>
            <a:chExt cx="8934778" cy="1817442"/>
          </a:xfrm>
          <a:solidFill>
            <a:srgbClr val="9FC63B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xmlns="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xmlns="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4962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5" name="Слайд think-cell" r:id="rId6" imgW="180" imgH="180" progId="TCLayout.ActiveDocument.1">
                  <p:embed/>
                </p:oleObj>
              </mc:Choice>
              <mc:Fallback>
                <p:oleObj name="Слайд think-cell" r:id="rId6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34962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-10131" y="10134744"/>
            <a:ext cx="14265882" cy="557071"/>
          </a:xfrm>
          <a:prstGeom prst="rect">
            <a:avLst/>
          </a:prstGeom>
          <a:solidFill>
            <a:srgbClr val="9FC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592345" y="10252497"/>
            <a:ext cx="966235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800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70" y="10095466"/>
            <a:ext cx="644221" cy="644928"/>
          </a:xfrm>
          <a:prstGeom prst="rect">
            <a:avLst/>
          </a:prstGeom>
        </p:spPr>
      </p:pic>
      <p:sp>
        <p:nvSpPr>
          <p:cNvPr id="54" name="Прямоугольник 31">
            <a:extLst>
              <a:ext uri="{FF2B5EF4-FFF2-40B4-BE49-F238E27FC236}">
                <a16:creationId xmlns:a16="http://schemas.microsoft.com/office/drawing/2014/main" xmlns="" id="{27DED578-B753-4908-AB1F-2780AD628A51}"/>
              </a:ext>
            </a:extLst>
          </p:cNvPr>
          <p:cNvSpPr/>
          <p:nvPr/>
        </p:nvSpPr>
        <p:spPr>
          <a:xfrm>
            <a:off x="98691" y="282144"/>
            <a:ext cx="9421358" cy="362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 НАШЕЙ ПОЛИКЛИНИКЕ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391D5161-8A18-4C9E-B346-9E5F4C0A69A1}"/>
              </a:ext>
            </a:extLst>
          </p:cNvPr>
          <p:cNvSpPr/>
          <p:nvPr/>
        </p:nvSpPr>
        <p:spPr>
          <a:xfrm>
            <a:off x="627284" y="2641720"/>
            <a:ext cx="7369626" cy="6003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2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очему нам необходим капитальный ремонт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endParaRPr lang="ru-RU" sz="24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2400" dirty="0"/>
              <a:t>Поликлиника была построена более 19 лет назад, за период работы здание устарело морально и физически, поэтому ремонт здания очень важен и нужен, </a:t>
            </a:r>
            <a:r>
              <a:rPr lang="ru-RU" sz="2400" dirty="0" smtClean="0"/>
              <a:t>как </a:t>
            </a:r>
            <a:r>
              <a:rPr lang="ru-RU" sz="2400" dirty="0"/>
              <a:t>для наших пациентов, так и для сотрудников</a:t>
            </a:r>
            <a:r>
              <a:rPr lang="ru-RU" sz="2400"/>
              <a:t>. </a:t>
            </a:r>
            <a:r>
              <a:rPr lang="ru-RU" sz="2400" smtClean="0"/>
              <a:t>Инженерные </a:t>
            </a:r>
            <a:r>
              <a:rPr lang="ru-RU" sz="2400" dirty="0"/>
              <a:t>системы </a:t>
            </a:r>
            <a:r>
              <a:rPr lang="ru-RU" sz="2400" dirty="0" smtClean="0"/>
              <a:t>поликлиники</a:t>
            </a:r>
            <a:r>
              <a:rPr lang="ru-RU" sz="2400" dirty="0"/>
              <a:t> </a:t>
            </a:r>
            <a:r>
              <a:rPr lang="ru-RU" sz="2400" dirty="0" smtClean="0"/>
              <a:t>требуют </a:t>
            </a:r>
            <a:r>
              <a:rPr lang="ru-RU" sz="2400" dirty="0"/>
              <a:t>полной или частичной замены. </a:t>
            </a:r>
            <a:r>
              <a:rPr lang="ru-RU" sz="2400" dirty="0" smtClean="0"/>
              <a:t>Система </a:t>
            </a:r>
            <a:r>
              <a:rPr lang="ru-RU" sz="2400" dirty="0"/>
              <a:t>энергоснабжения здания не рассчитана на мощности, необходимые для работы новой </a:t>
            </a:r>
            <a:r>
              <a:rPr lang="ru-RU" sz="2400" dirty="0" smtClean="0"/>
              <a:t>медицинской техники. В поликлинике нет зон для комфортного пребывания пациентов и их родителей. В здании узкие коридоры, в помещениях много перегородок, не всегда удобные кабинеты.    </a:t>
            </a:r>
            <a:endParaRPr lang="ru-RU" sz="24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58D40768-D8AE-4FB5-9275-333027F6215D}"/>
              </a:ext>
            </a:extLst>
          </p:cNvPr>
          <p:cNvSpPr txBox="1"/>
          <p:nvPr/>
        </p:nvSpPr>
        <p:spPr>
          <a:xfrm>
            <a:off x="8207298" y="334536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1213D062-AF9B-4431-A73B-0E33ECCA6AD6}"/>
              </a:ext>
            </a:extLst>
          </p:cNvPr>
          <p:cNvSpPr/>
          <p:nvPr/>
        </p:nvSpPr>
        <p:spPr>
          <a:xfrm>
            <a:off x="9436944" y="1581893"/>
            <a:ext cx="3526946" cy="35269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BF6DCF2-9E7F-4C7B-8B48-48D7260BEFBC}"/>
              </a:ext>
            </a:extLst>
          </p:cNvPr>
          <p:cNvSpPr txBox="1"/>
          <p:nvPr/>
        </p:nvSpPr>
        <p:spPr>
          <a:xfrm>
            <a:off x="9895861" y="2883701"/>
            <a:ext cx="2609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/>
              <a:t>Место для фото, </a:t>
            </a:r>
          </a:p>
          <a:p>
            <a:pPr algn="ctr"/>
            <a:r>
              <a:rPr lang="ru-RU" dirty="0"/>
              <a:t>подтверждающего тезис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D18CAD79-5BB3-4476-B507-416EA02F9D7E}"/>
              </a:ext>
            </a:extLst>
          </p:cNvPr>
          <p:cNvSpPr/>
          <p:nvPr/>
        </p:nvSpPr>
        <p:spPr>
          <a:xfrm>
            <a:off x="9424159" y="5522893"/>
            <a:ext cx="3526946" cy="35269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388D86A-7AAA-40FE-ACAA-26042AAA76F6}"/>
              </a:ext>
            </a:extLst>
          </p:cNvPr>
          <p:cNvSpPr txBox="1"/>
          <p:nvPr/>
        </p:nvSpPr>
        <p:spPr>
          <a:xfrm>
            <a:off x="9844936" y="6963200"/>
            <a:ext cx="26091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/>
              <a:t>Место для фото, </a:t>
            </a:r>
          </a:p>
          <a:p>
            <a:pPr algn="ctr"/>
            <a:r>
              <a:rPr lang="ru-RU" dirty="0"/>
              <a:t>подтверждающего тезис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0561" y="5522892"/>
            <a:ext cx="3573329" cy="352694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6944" y="1581892"/>
            <a:ext cx="3526946" cy="3526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535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70000"/>
            <a:lum/>
          </a:blip>
          <a:srcRect/>
          <a:stretch>
            <a:fillRect b="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xmlns="" id="{8C044FF5-E3BE-4002-B9A8-A68C4D4A17C2}"/>
              </a:ext>
            </a:extLst>
          </p:cNvPr>
          <p:cNvGrpSpPr/>
          <p:nvPr/>
        </p:nvGrpSpPr>
        <p:grpSpPr>
          <a:xfrm flipH="1" flipV="1">
            <a:off x="-9227" y="-7650"/>
            <a:ext cx="10217751" cy="939453"/>
            <a:chOff x="3254046" y="4745829"/>
            <a:chExt cx="8934778" cy="1817442"/>
          </a:xfrm>
          <a:solidFill>
            <a:srgbClr val="9FC63B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xmlns="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xmlns="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4962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1" name="Слайд think-cell" r:id="rId5" imgW="180" imgH="180" progId="TCLayout.ActiveDocument.1">
                  <p:embed/>
                </p:oleObj>
              </mc:Choice>
              <mc:Fallback>
                <p:oleObj name="Слайд think-cell" r:id="rId5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4962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-10131" y="10134744"/>
            <a:ext cx="14265882" cy="557071"/>
          </a:xfrm>
          <a:prstGeom prst="rect">
            <a:avLst/>
          </a:prstGeom>
          <a:solidFill>
            <a:srgbClr val="9FC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592345" y="10252497"/>
            <a:ext cx="966235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800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70" y="10095466"/>
            <a:ext cx="644221" cy="644928"/>
          </a:xfrm>
          <a:prstGeom prst="rect">
            <a:avLst/>
          </a:prstGeom>
        </p:spPr>
      </p:pic>
      <p:sp>
        <p:nvSpPr>
          <p:cNvPr id="54" name="Прямоугольник 31">
            <a:extLst>
              <a:ext uri="{FF2B5EF4-FFF2-40B4-BE49-F238E27FC236}">
                <a16:creationId xmlns:a16="http://schemas.microsoft.com/office/drawing/2014/main" xmlns="" id="{27DED578-B753-4908-AB1F-2780AD628A51}"/>
              </a:ext>
            </a:extLst>
          </p:cNvPr>
          <p:cNvSpPr/>
          <p:nvPr/>
        </p:nvSpPr>
        <p:spPr>
          <a:xfrm>
            <a:off x="98691" y="282144"/>
            <a:ext cx="9421358" cy="362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АРШРУТИЗАЦИЯ НА ВРЕМЯ КАПИТАЛЬНОГО РЕМОНТА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6B69113B-8B8E-5546-B3B3-DF6A9937748D}"/>
              </a:ext>
            </a:extLst>
          </p:cNvPr>
          <p:cNvSpPr/>
          <p:nvPr/>
        </p:nvSpPr>
        <p:spPr>
          <a:xfrm>
            <a:off x="340179" y="1372266"/>
            <a:ext cx="12508718" cy="1501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аша поликлиника станет лучше для Вас!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время проведения капитального ремонта маленькие пациенты смогут посещать своих привычных врачей, просто по другому адресу. Вся медицинская помощь будет оказываться своевременно и в полном объеме.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9" name="Group 876">
            <a:extLst>
              <a:ext uri="{FF2B5EF4-FFF2-40B4-BE49-F238E27FC236}">
                <a16:creationId xmlns:a16="http://schemas.microsoft.com/office/drawing/2014/main" xmlns="" id="{2D86541D-8728-E74D-8703-C7057132B445}"/>
              </a:ext>
            </a:extLst>
          </p:cNvPr>
          <p:cNvGrpSpPr>
            <a:grpSpLocks/>
          </p:cNvGrpSpPr>
          <p:nvPr/>
        </p:nvGrpSpPr>
        <p:grpSpPr>
          <a:xfrm>
            <a:off x="2331892" y="3836955"/>
            <a:ext cx="862754" cy="883356"/>
            <a:chOff x="-1612900" y="2984500"/>
            <a:chExt cx="647699" cy="665163"/>
          </a:xfrm>
          <a:solidFill>
            <a:srgbClr val="9FC63B"/>
          </a:solidFill>
        </p:grpSpPr>
        <p:sp>
          <p:nvSpPr>
            <p:cNvPr id="30" name="Freeform 155">
              <a:extLst>
                <a:ext uri="{FF2B5EF4-FFF2-40B4-BE49-F238E27FC236}">
                  <a16:creationId xmlns:a16="http://schemas.microsoft.com/office/drawing/2014/main" xmlns="" id="{089FE1BC-30A7-7C46-888C-3AFADBF49F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52575" y="3049588"/>
              <a:ext cx="527050" cy="528638"/>
            </a:xfrm>
            <a:custGeom>
              <a:avLst/>
              <a:gdLst>
                <a:gd name="T0" fmla="*/ 262 w 1522"/>
                <a:gd name="T1" fmla="*/ 177 h 1529"/>
                <a:gd name="T2" fmla="*/ 99 w 1522"/>
                <a:gd name="T3" fmla="*/ 237 h 1529"/>
                <a:gd name="T4" fmla="*/ 145 w 1522"/>
                <a:gd name="T5" fmla="*/ 449 h 1529"/>
                <a:gd name="T6" fmla="*/ 308 w 1522"/>
                <a:gd name="T7" fmla="*/ 462 h 1529"/>
                <a:gd name="T8" fmla="*/ 465 w 1522"/>
                <a:gd name="T9" fmla="*/ 677 h 1529"/>
                <a:gd name="T10" fmla="*/ 505 w 1522"/>
                <a:gd name="T11" fmla="*/ 908 h 1529"/>
                <a:gd name="T12" fmla="*/ 692 w 1522"/>
                <a:gd name="T13" fmla="*/ 868 h 1529"/>
                <a:gd name="T14" fmla="*/ 831 w 1522"/>
                <a:gd name="T15" fmla="*/ 756 h 1529"/>
                <a:gd name="T16" fmla="*/ 833 w 1522"/>
                <a:gd name="T17" fmla="*/ 874 h 1529"/>
                <a:gd name="T18" fmla="*/ 1028 w 1522"/>
                <a:gd name="T19" fmla="*/ 908 h 1529"/>
                <a:gd name="T20" fmla="*/ 1059 w 1522"/>
                <a:gd name="T21" fmla="*/ 677 h 1529"/>
                <a:gd name="T22" fmla="*/ 1216 w 1522"/>
                <a:gd name="T23" fmla="*/ 464 h 1529"/>
                <a:gd name="T24" fmla="*/ 1383 w 1522"/>
                <a:gd name="T25" fmla="*/ 449 h 1529"/>
                <a:gd name="T26" fmla="*/ 1425 w 1522"/>
                <a:gd name="T27" fmla="*/ 217 h 1529"/>
                <a:gd name="T28" fmla="*/ 1261 w 1522"/>
                <a:gd name="T29" fmla="*/ 177 h 1529"/>
                <a:gd name="T30" fmla="*/ 1197 w 1522"/>
                <a:gd name="T31" fmla="*/ 3 h 1529"/>
                <a:gd name="T32" fmla="*/ 1462 w 1522"/>
                <a:gd name="T33" fmla="*/ 2 h 1529"/>
                <a:gd name="T34" fmla="*/ 1522 w 1522"/>
                <a:gd name="T35" fmla="*/ 1503 h 1529"/>
                <a:gd name="T36" fmla="*/ 3 w 1522"/>
                <a:gd name="T37" fmla="*/ 1529 h 1529"/>
                <a:gd name="T38" fmla="*/ 1 w 1522"/>
                <a:gd name="T39" fmla="*/ 357 h 1529"/>
                <a:gd name="T40" fmla="*/ 72 w 1522"/>
                <a:gd name="T41" fmla="*/ 1 h 1529"/>
                <a:gd name="T42" fmla="*/ 99 w 1522"/>
                <a:gd name="T43" fmla="*/ 773 h 1529"/>
                <a:gd name="T44" fmla="*/ 99 w 1522"/>
                <a:gd name="T45" fmla="*/ 869 h 1529"/>
                <a:gd name="T46" fmla="*/ 290 w 1522"/>
                <a:gd name="T47" fmla="*/ 908 h 1529"/>
                <a:gd name="T48" fmla="*/ 326 w 1522"/>
                <a:gd name="T49" fmla="*/ 674 h 1529"/>
                <a:gd name="T50" fmla="*/ 138 w 1522"/>
                <a:gd name="T51" fmla="*/ 637 h 1529"/>
                <a:gd name="T52" fmla="*/ 99 w 1522"/>
                <a:gd name="T53" fmla="*/ 773 h 1529"/>
                <a:gd name="T54" fmla="*/ 1198 w 1522"/>
                <a:gd name="T55" fmla="*/ 866 h 1529"/>
                <a:gd name="T56" fmla="*/ 1386 w 1522"/>
                <a:gd name="T57" fmla="*/ 908 h 1529"/>
                <a:gd name="T58" fmla="*/ 1425 w 1522"/>
                <a:gd name="T59" fmla="*/ 675 h 1529"/>
                <a:gd name="T60" fmla="*/ 1236 w 1522"/>
                <a:gd name="T61" fmla="*/ 637 h 1529"/>
                <a:gd name="T62" fmla="*/ 1198 w 1522"/>
                <a:gd name="T63" fmla="*/ 772 h 1529"/>
                <a:gd name="T64" fmla="*/ 1425 w 1522"/>
                <a:gd name="T65" fmla="*/ 1122 h 1529"/>
                <a:gd name="T66" fmla="*/ 1235 w 1522"/>
                <a:gd name="T67" fmla="*/ 1085 h 1529"/>
                <a:gd name="T68" fmla="*/ 1198 w 1522"/>
                <a:gd name="T69" fmla="*/ 1319 h 1529"/>
                <a:gd name="T70" fmla="*/ 1385 w 1522"/>
                <a:gd name="T71" fmla="*/ 1356 h 1529"/>
                <a:gd name="T72" fmla="*/ 1426 w 1522"/>
                <a:gd name="T73" fmla="*/ 1220 h 1529"/>
                <a:gd name="T74" fmla="*/ 327 w 1522"/>
                <a:gd name="T75" fmla="*/ 1219 h 1529"/>
                <a:gd name="T76" fmla="*/ 290 w 1522"/>
                <a:gd name="T77" fmla="*/ 1085 h 1529"/>
                <a:gd name="T78" fmla="*/ 99 w 1522"/>
                <a:gd name="T79" fmla="*/ 1123 h 1529"/>
                <a:gd name="T80" fmla="*/ 137 w 1522"/>
                <a:gd name="T81" fmla="*/ 1355 h 1529"/>
                <a:gd name="T82" fmla="*/ 326 w 1522"/>
                <a:gd name="T83" fmla="*/ 1317 h 1529"/>
                <a:gd name="T84" fmla="*/ 466 w 1522"/>
                <a:gd name="T85" fmla="*/ 1221 h 1529"/>
                <a:gd name="T86" fmla="*/ 500 w 1522"/>
                <a:gd name="T87" fmla="*/ 1355 h 1529"/>
                <a:gd name="T88" fmla="*/ 692 w 1522"/>
                <a:gd name="T89" fmla="*/ 1322 h 1529"/>
                <a:gd name="T90" fmla="*/ 657 w 1522"/>
                <a:gd name="T91" fmla="*/ 1085 h 1529"/>
                <a:gd name="T92" fmla="*/ 466 w 1522"/>
                <a:gd name="T93" fmla="*/ 1123 h 1529"/>
                <a:gd name="T94" fmla="*/ 833 w 1522"/>
                <a:gd name="T95" fmla="*/ 1220 h 1529"/>
                <a:gd name="T96" fmla="*/ 874 w 1522"/>
                <a:gd name="T97" fmla="*/ 1356 h 1529"/>
                <a:gd name="T98" fmla="*/ 1059 w 1522"/>
                <a:gd name="T99" fmla="*/ 1319 h 1529"/>
                <a:gd name="T100" fmla="*/ 1022 w 1522"/>
                <a:gd name="T101" fmla="*/ 1085 h 1529"/>
                <a:gd name="T102" fmla="*/ 833 w 1522"/>
                <a:gd name="T103" fmla="*/ 1120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22" h="1529">
                  <a:moveTo>
                    <a:pt x="328" y="2"/>
                  </a:moveTo>
                  <a:cubicBezTo>
                    <a:pt x="306" y="60"/>
                    <a:pt x="285" y="116"/>
                    <a:pt x="262" y="177"/>
                  </a:cubicBezTo>
                  <a:cubicBezTo>
                    <a:pt x="232" y="177"/>
                    <a:pt x="196" y="177"/>
                    <a:pt x="160" y="177"/>
                  </a:cubicBezTo>
                  <a:cubicBezTo>
                    <a:pt x="103" y="177"/>
                    <a:pt x="99" y="181"/>
                    <a:pt x="99" y="237"/>
                  </a:cubicBezTo>
                  <a:cubicBezTo>
                    <a:pt x="99" y="292"/>
                    <a:pt x="99" y="347"/>
                    <a:pt x="99" y="403"/>
                  </a:cubicBezTo>
                  <a:cubicBezTo>
                    <a:pt x="99" y="439"/>
                    <a:pt x="109" y="449"/>
                    <a:pt x="145" y="449"/>
                  </a:cubicBezTo>
                  <a:cubicBezTo>
                    <a:pt x="193" y="449"/>
                    <a:pt x="240" y="450"/>
                    <a:pt x="287" y="449"/>
                  </a:cubicBezTo>
                  <a:cubicBezTo>
                    <a:pt x="298" y="449"/>
                    <a:pt x="304" y="452"/>
                    <a:pt x="308" y="462"/>
                  </a:cubicBezTo>
                  <a:cubicBezTo>
                    <a:pt x="342" y="537"/>
                    <a:pt x="391" y="600"/>
                    <a:pt x="454" y="652"/>
                  </a:cubicBezTo>
                  <a:cubicBezTo>
                    <a:pt x="461" y="658"/>
                    <a:pt x="465" y="669"/>
                    <a:pt x="465" y="677"/>
                  </a:cubicBezTo>
                  <a:cubicBezTo>
                    <a:pt x="466" y="741"/>
                    <a:pt x="466" y="804"/>
                    <a:pt x="466" y="867"/>
                  </a:cubicBezTo>
                  <a:cubicBezTo>
                    <a:pt x="466" y="897"/>
                    <a:pt x="476" y="908"/>
                    <a:pt x="505" y="908"/>
                  </a:cubicBezTo>
                  <a:cubicBezTo>
                    <a:pt x="554" y="909"/>
                    <a:pt x="604" y="909"/>
                    <a:pt x="653" y="908"/>
                  </a:cubicBezTo>
                  <a:cubicBezTo>
                    <a:pt x="683" y="908"/>
                    <a:pt x="692" y="898"/>
                    <a:pt x="692" y="868"/>
                  </a:cubicBezTo>
                  <a:cubicBezTo>
                    <a:pt x="692" y="830"/>
                    <a:pt x="692" y="793"/>
                    <a:pt x="692" y="756"/>
                  </a:cubicBezTo>
                  <a:cubicBezTo>
                    <a:pt x="739" y="756"/>
                    <a:pt x="784" y="756"/>
                    <a:pt x="831" y="756"/>
                  </a:cubicBezTo>
                  <a:cubicBezTo>
                    <a:pt x="832" y="762"/>
                    <a:pt x="832" y="769"/>
                    <a:pt x="832" y="776"/>
                  </a:cubicBezTo>
                  <a:cubicBezTo>
                    <a:pt x="833" y="808"/>
                    <a:pt x="832" y="841"/>
                    <a:pt x="833" y="874"/>
                  </a:cubicBezTo>
                  <a:cubicBezTo>
                    <a:pt x="833" y="895"/>
                    <a:pt x="843" y="907"/>
                    <a:pt x="864" y="908"/>
                  </a:cubicBezTo>
                  <a:cubicBezTo>
                    <a:pt x="918" y="909"/>
                    <a:pt x="973" y="909"/>
                    <a:pt x="1028" y="908"/>
                  </a:cubicBezTo>
                  <a:cubicBezTo>
                    <a:pt x="1049" y="907"/>
                    <a:pt x="1059" y="894"/>
                    <a:pt x="1059" y="871"/>
                  </a:cubicBezTo>
                  <a:cubicBezTo>
                    <a:pt x="1059" y="807"/>
                    <a:pt x="1058" y="742"/>
                    <a:pt x="1059" y="677"/>
                  </a:cubicBezTo>
                  <a:cubicBezTo>
                    <a:pt x="1060" y="668"/>
                    <a:pt x="1065" y="657"/>
                    <a:pt x="1072" y="651"/>
                  </a:cubicBezTo>
                  <a:cubicBezTo>
                    <a:pt x="1134" y="600"/>
                    <a:pt x="1183" y="538"/>
                    <a:pt x="1216" y="464"/>
                  </a:cubicBezTo>
                  <a:cubicBezTo>
                    <a:pt x="1221" y="452"/>
                    <a:pt x="1229" y="449"/>
                    <a:pt x="1241" y="449"/>
                  </a:cubicBezTo>
                  <a:cubicBezTo>
                    <a:pt x="1289" y="450"/>
                    <a:pt x="1336" y="449"/>
                    <a:pt x="1383" y="449"/>
                  </a:cubicBezTo>
                  <a:cubicBezTo>
                    <a:pt x="1414" y="449"/>
                    <a:pt x="1426" y="438"/>
                    <a:pt x="1426" y="407"/>
                  </a:cubicBezTo>
                  <a:cubicBezTo>
                    <a:pt x="1426" y="343"/>
                    <a:pt x="1426" y="280"/>
                    <a:pt x="1425" y="217"/>
                  </a:cubicBezTo>
                  <a:cubicBezTo>
                    <a:pt x="1425" y="188"/>
                    <a:pt x="1414" y="177"/>
                    <a:pt x="1385" y="177"/>
                  </a:cubicBezTo>
                  <a:cubicBezTo>
                    <a:pt x="1344" y="177"/>
                    <a:pt x="1303" y="177"/>
                    <a:pt x="1261" y="177"/>
                  </a:cubicBezTo>
                  <a:cubicBezTo>
                    <a:pt x="1260" y="177"/>
                    <a:pt x="1259" y="176"/>
                    <a:pt x="1261" y="177"/>
                  </a:cubicBezTo>
                  <a:cubicBezTo>
                    <a:pt x="1239" y="117"/>
                    <a:pt x="1218" y="60"/>
                    <a:pt x="1197" y="3"/>
                  </a:cubicBezTo>
                  <a:cubicBezTo>
                    <a:pt x="1199" y="3"/>
                    <a:pt x="1204" y="2"/>
                    <a:pt x="1210" y="2"/>
                  </a:cubicBezTo>
                  <a:cubicBezTo>
                    <a:pt x="1294" y="2"/>
                    <a:pt x="1378" y="2"/>
                    <a:pt x="1462" y="2"/>
                  </a:cubicBezTo>
                  <a:cubicBezTo>
                    <a:pt x="1500" y="2"/>
                    <a:pt x="1522" y="24"/>
                    <a:pt x="1522" y="61"/>
                  </a:cubicBezTo>
                  <a:cubicBezTo>
                    <a:pt x="1522" y="542"/>
                    <a:pt x="1522" y="1022"/>
                    <a:pt x="1522" y="1503"/>
                  </a:cubicBezTo>
                  <a:cubicBezTo>
                    <a:pt x="1522" y="1511"/>
                    <a:pt x="1522" y="1519"/>
                    <a:pt x="1522" y="1529"/>
                  </a:cubicBezTo>
                  <a:cubicBezTo>
                    <a:pt x="1015" y="1529"/>
                    <a:pt x="510" y="1529"/>
                    <a:pt x="3" y="1529"/>
                  </a:cubicBezTo>
                  <a:cubicBezTo>
                    <a:pt x="2" y="1523"/>
                    <a:pt x="1" y="1516"/>
                    <a:pt x="1" y="1509"/>
                  </a:cubicBezTo>
                  <a:cubicBezTo>
                    <a:pt x="1" y="1125"/>
                    <a:pt x="1" y="741"/>
                    <a:pt x="1" y="357"/>
                  </a:cubicBezTo>
                  <a:cubicBezTo>
                    <a:pt x="1" y="263"/>
                    <a:pt x="3" y="168"/>
                    <a:pt x="1" y="73"/>
                  </a:cubicBezTo>
                  <a:cubicBezTo>
                    <a:pt x="0" y="24"/>
                    <a:pt x="31" y="0"/>
                    <a:pt x="72" y="1"/>
                  </a:cubicBezTo>
                  <a:cubicBezTo>
                    <a:pt x="158" y="4"/>
                    <a:pt x="244" y="2"/>
                    <a:pt x="328" y="2"/>
                  </a:cubicBezTo>
                  <a:close/>
                  <a:moveTo>
                    <a:pt x="99" y="773"/>
                  </a:moveTo>
                  <a:cubicBezTo>
                    <a:pt x="99" y="773"/>
                    <a:pt x="99" y="773"/>
                    <a:pt x="99" y="773"/>
                  </a:cubicBezTo>
                  <a:cubicBezTo>
                    <a:pt x="99" y="805"/>
                    <a:pt x="99" y="837"/>
                    <a:pt x="99" y="869"/>
                  </a:cubicBezTo>
                  <a:cubicBezTo>
                    <a:pt x="100" y="896"/>
                    <a:pt x="110" y="908"/>
                    <a:pt x="136" y="908"/>
                  </a:cubicBezTo>
                  <a:cubicBezTo>
                    <a:pt x="188" y="909"/>
                    <a:pt x="239" y="909"/>
                    <a:pt x="290" y="908"/>
                  </a:cubicBezTo>
                  <a:cubicBezTo>
                    <a:pt x="315" y="908"/>
                    <a:pt x="326" y="895"/>
                    <a:pt x="326" y="870"/>
                  </a:cubicBezTo>
                  <a:cubicBezTo>
                    <a:pt x="327" y="805"/>
                    <a:pt x="327" y="739"/>
                    <a:pt x="326" y="674"/>
                  </a:cubicBezTo>
                  <a:cubicBezTo>
                    <a:pt x="326" y="648"/>
                    <a:pt x="315" y="637"/>
                    <a:pt x="288" y="637"/>
                  </a:cubicBezTo>
                  <a:cubicBezTo>
                    <a:pt x="238" y="637"/>
                    <a:pt x="188" y="637"/>
                    <a:pt x="138" y="637"/>
                  </a:cubicBezTo>
                  <a:cubicBezTo>
                    <a:pt x="110" y="637"/>
                    <a:pt x="100" y="647"/>
                    <a:pt x="99" y="675"/>
                  </a:cubicBezTo>
                  <a:cubicBezTo>
                    <a:pt x="99" y="708"/>
                    <a:pt x="99" y="741"/>
                    <a:pt x="99" y="773"/>
                  </a:cubicBezTo>
                  <a:close/>
                  <a:moveTo>
                    <a:pt x="1198" y="772"/>
                  </a:moveTo>
                  <a:cubicBezTo>
                    <a:pt x="1198" y="803"/>
                    <a:pt x="1198" y="835"/>
                    <a:pt x="1198" y="866"/>
                  </a:cubicBezTo>
                  <a:cubicBezTo>
                    <a:pt x="1198" y="897"/>
                    <a:pt x="1208" y="908"/>
                    <a:pt x="1240" y="908"/>
                  </a:cubicBezTo>
                  <a:cubicBezTo>
                    <a:pt x="1289" y="909"/>
                    <a:pt x="1337" y="908"/>
                    <a:pt x="1386" y="908"/>
                  </a:cubicBezTo>
                  <a:cubicBezTo>
                    <a:pt x="1414" y="908"/>
                    <a:pt x="1425" y="897"/>
                    <a:pt x="1425" y="869"/>
                  </a:cubicBezTo>
                  <a:cubicBezTo>
                    <a:pt x="1426" y="805"/>
                    <a:pt x="1426" y="740"/>
                    <a:pt x="1425" y="675"/>
                  </a:cubicBezTo>
                  <a:cubicBezTo>
                    <a:pt x="1425" y="648"/>
                    <a:pt x="1414" y="637"/>
                    <a:pt x="1386" y="637"/>
                  </a:cubicBezTo>
                  <a:cubicBezTo>
                    <a:pt x="1336" y="637"/>
                    <a:pt x="1286" y="637"/>
                    <a:pt x="1236" y="637"/>
                  </a:cubicBezTo>
                  <a:cubicBezTo>
                    <a:pt x="1209" y="637"/>
                    <a:pt x="1198" y="648"/>
                    <a:pt x="1198" y="676"/>
                  </a:cubicBezTo>
                  <a:cubicBezTo>
                    <a:pt x="1198" y="708"/>
                    <a:pt x="1198" y="740"/>
                    <a:pt x="1198" y="772"/>
                  </a:cubicBezTo>
                  <a:close/>
                  <a:moveTo>
                    <a:pt x="1426" y="1220"/>
                  </a:moveTo>
                  <a:cubicBezTo>
                    <a:pt x="1426" y="1187"/>
                    <a:pt x="1426" y="1155"/>
                    <a:pt x="1425" y="1122"/>
                  </a:cubicBezTo>
                  <a:cubicBezTo>
                    <a:pt x="1425" y="1095"/>
                    <a:pt x="1414" y="1085"/>
                    <a:pt x="1387" y="1085"/>
                  </a:cubicBezTo>
                  <a:cubicBezTo>
                    <a:pt x="1337" y="1085"/>
                    <a:pt x="1286" y="1084"/>
                    <a:pt x="1235" y="1085"/>
                  </a:cubicBezTo>
                  <a:cubicBezTo>
                    <a:pt x="1210" y="1085"/>
                    <a:pt x="1198" y="1096"/>
                    <a:pt x="1198" y="1121"/>
                  </a:cubicBezTo>
                  <a:cubicBezTo>
                    <a:pt x="1198" y="1187"/>
                    <a:pt x="1198" y="1253"/>
                    <a:pt x="1198" y="1319"/>
                  </a:cubicBezTo>
                  <a:cubicBezTo>
                    <a:pt x="1198" y="1344"/>
                    <a:pt x="1210" y="1355"/>
                    <a:pt x="1235" y="1355"/>
                  </a:cubicBezTo>
                  <a:cubicBezTo>
                    <a:pt x="1285" y="1356"/>
                    <a:pt x="1335" y="1356"/>
                    <a:pt x="1385" y="1356"/>
                  </a:cubicBezTo>
                  <a:cubicBezTo>
                    <a:pt x="1415" y="1355"/>
                    <a:pt x="1425" y="1345"/>
                    <a:pt x="1426" y="1314"/>
                  </a:cubicBezTo>
                  <a:cubicBezTo>
                    <a:pt x="1426" y="1283"/>
                    <a:pt x="1426" y="1251"/>
                    <a:pt x="1426" y="1220"/>
                  </a:cubicBezTo>
                  <a:close/>
                  <a:moveTo>
                    <a:pt x="326" y="1219"/>
                  </a:moveTo>
                  <a:cubicBezTo>
                    <a:pt x="327" y="1219"/>
                    <a:pt x="327" y="1219"/>
                    <a:pt x="327" y="1219"/>
                  </a:cubicBezTo>
                  <a:cubicBezTo>
                    <a:pt x="327" y="1187"/>
                    <a:pt x="327" y="1154"/>
                    <a:pt x="326" y="1121"/>
                  </a:cubicBezTo>
                  <a:cubicBezTo>
                    <a:pt x="326" y="1096"/>
                    <a:pt x="315" y="1085"/>
                    <a:pt x="290" y="1085"/>
                  </a:cubicBezTo>
                  <a:cubicBezTo>
                    <a:pt x="239" y="1084"/>
                    <a:pt x="188" y="1085"/>
                    <a:pt x="138" y="1085"/>
                  </a:cubicBezTo>
                  <a:cubicBezTo>
                    <a:pt x="110" y="1085"/>
                    <a:pt x="99" y="1095"/>
                    <a:pt x="99" y="1123"/>
                  </a:cubicBezTo>
                  <a:cubicBezTo>
                    <a:pt x="99" y="1188"/>
                    <a:pt x="99" y="1253"/>
                    <a:pt x="99" y="1317"/>
                  </a:cubicBezTo>
                  <a:cubicBezTo>
                    <a:pt x="99" y="1344"/>
                    <a:pt x="110" y="1355"/>
                    <a:pt x="137" y="1355"/>
                  </a:cubicBezTo>
                  <a:cubicBezTo>
                    <a:pt x="188" y="1356"/>
                    <a:pt x="238" y="1356"/>
                    <a:pt x="289" y="1355"/>
                  </a:cubicBezTo>
                  <a:cubicBezTo>
                    <a:pt x="316" y="1355"/>
                    <a:pt x="326" y="1344"/>
                    <a:pt x="326" y="1317"/>
                  </a:cubicBezTo>
                  <a:cubicBezTo>
                    <a:pt x="327" y="1285"/>
                    <a:pt x="326" y="1252"/>
                    <a:pt x="326" y="1219"/>
                  </a:cubicBezTo>
                  <a:close/>
                  <a:moveTo>
                    <a:pt x="466" y="1221"/>
                  </a:moveTo>
                  <a:cubicBezTo>
                    <a:pt x="466" y="1253"/>
                    <a:pt x="466" y="1286"/>
                    <a:pt x="466" y="1319"/>
                  </a:cubicBezTo>
                  <a:cubicBezTo>
                    <a:pt x="466" y="1343"/>
                    <a:pt x="477" y="1355"/>
                    <a:pt x="500" y="1355"/>
                  </a:cubicBezTo>
                  <a:cubicBezTo>
                    <a:pt x="553" y="1356"/>
                    <a:pt x="606" y="1356"/>
                    <a:pt x="658" y="1355"/>
                  </a:cubicBezTo>
                  <a:cubicBezTo>
                    <a:pt x="681" y="1355"/>
                    <a:pt x="692" y="1344"/>
                    <a:pt x="692" y="1322"/>
                  </a:cubicBezTo>
                  <a:cubicBezTo>
                    <a:pt x="692" y="1254"/>
                    <a:pt x="692" y="1186"/>
                    <a:pt x="692" y="1118"/>
                  </a:cubicBezTo>
                  <a:cubicBezTo>
                    <a:pt x="692" y="1095"/>
                    <a:pt x="680" y="1085"/>
                    <a:pt x="657" y="1085"/>
                  </a:cubicBezTo>
                  <a:cubicBezTo>
                    <a:pt x="606" y="1084"/>
                    <a:pt x="554" y="1084"/>
                    <a:pt x="503" y="1085"/>
                  </a:cubicBezTo>
                  <a:cubicBezTo>
                    <a:pt x="477" y="1085"/>
                    <a:pt x="466" y="1096"/>
                    <a:pt x="466" y="1123"/>
                  </a:cubicBezTo>
                  <a:cubicBezTo>
                    <a:pt x="466" y="1155"/>
                    <a:pt x="466" y="1188"/>
                    <a:pt x="466" y="1221"/>
                  </a:cubicBezTo>
                  <a:close/>
                  <a:moveTo>
                    <a:pt x="833" y="1220"/>
                  </a:moveTo>
                  <a:cubicBezTo>
                    <a:pt x="833" y="1251"/>
                    <a:pt x="832" y="1282"/>
                    <a:pt x="833" y="1314"/>
                  </a:cubicBezTo>
                  <a:cubicBezTo>
                    <a:pt x="833" y="1346"/>
                    <a:pt x="842" y="1355"/>
                    <a:pt x="874" y="1356"/>
                  </a:cubicBezTo>
                  <a:cubicBezTo>
                    <a:pt x="923" y="1356"/>
                    <a:pt x="973" y="1356"/>
                    <a:pt x="1022" y="1355"/>
                  </a:cubicBezTo>
                  <a:cubicBezTo>
                    <a:pt x="1047" y="1355"/>
                    <a:pt x="1059" y="1344"/>
                    <a:pt x="1059" y="1319"/>
                  </a:cubicBezTo>
                  <a:cubicBezTo>
                    <a:pt x="1059" y="1253"/>
                    <a:pt x="1059" y="1187"/>
                    <a:pt x="1059" y="1121"/>
                  </a:cubicBezTo>
                  <a:cubicBezTo>
                    <a:pt x="1059" y="1096"/>
                    <a:pt x="1047" y="1085"/>
                    <a:pt x="1022" y="1085"/>
                  </a:cubicBezTo>
                  <a:cubicBezTo>
                    <a:pt x="971" y="1084"/>
                    <a:pt x="919" y="1085"/>
                    <a:pt x="868" y="1085"/>
                  </a:cubicBezTo>
                  <a:cubicBezTo>
                    <a:pt x="844" y="1085"/>
                    <a:pt x="833" y="1095"/>
                    <a:pt x="833" y="1120"/>
                  </a:cubicBezTo>
                  <a:cubicBezTo>
                    <a:pt x="832" y="1153"/>
                    <a:pt x="833" y="1187"/>
                    <a:pt x="833" y="12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156">
              <a:extLst>
                <a:ext uri="{FF2B5EF4-FFF2-40B4-BE49-F238E27FC236}">
                  <a16:creationId xmlns:a16="http://schemas.microsoft.com/office/drawing/2014/main" xmlns="" id="{42D89C24-DD1F-ED43-AADC-27BA7B892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12900" y="3598863"/>
              <a:ext cx="647699" cy="50800"/>
            </a:xfrm>
            <a:custGeom>
              <a:avLst/>
              <a:gdLst>
                <a:gd name="T0" fmla="*/ 933 w 1867"/>
                <a:gd name="T1" fmla="*/ 0 h 148"/>
                <a:gd name="T2" fmla="*/ 1829 w 1867"/>
                <a:gd name="T3" fmla="*/ 0 h 148"/>
                <a:gd name="T4" fmla="*/ 1866 w 1867"/>
                <a:gd name="T5" fmla="*/ 37 h 148"/>
                <a:gd name="T6" fmla="*/ 1866 w 1867"/>
                <a:gd name="T7" fmla="*/ 107 h 148"/>
                <a:gd name="T8" fmla="*/ 1824 w 1867"/>
                <a:gd name="T9" fmla="*/ 148 h 148"/>
                <a:gd name="T10" fmla="*/ 1044 w 1867"/>
                <a:gd name="T11" fmla="*/ 148 h 148"/>
                <a:gd name="T12" fmla="*/ 45 w 1867"/>
                <a:gd name="T13" fmla="*/ 148 h 148"/>
                <a:gd name="T14" fmla="*/ 0 w 1867"/>
                <a:gd name="T15" fmla="*/ 103 h 148"/>
                <a:gd name="T16" fmla="*/ 0 w 1867"/>
                <a:gd name="T17" fmla="*/ 37 h 148"/>
                <a:gd name="T18" fmla="*/ 37 w 1867"/>
                <a:gd name="T19" fmla="*/ 0 h 148"/>
                <a:gd name="T20" fmla="*/ 565 w 1867"/>
                <a:gd name="T21" fmla="*/ 0 h 148"/>
                <a:gd name="T22" fmla="*/ 933 w 1867"/>
                <a:gd name="T2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7" h="148">
                  <a:moveTo>
                    <a:pt x="933" y="0"/>
                  </a:moveTo>
                  <a:cubicBezTo>
                    <a:pt x="1232" y="0"/>
                    <a:pt x="1530" y="0"/>
                    <a:pt x="1829" y="0"/>
                  </a:cubicBezTo>
                  <a:cubicBezTo>
                    <a:pt x="1857" y="0"/>
                    <a:pt x="1866" y="8"/>
                    <a:pt x="1866" y="37"/>
                  </a:cubicBezTo>
                  <a:cubicBezTo>
                    <a:pt x="1867" y="60"/>
                    <a:pt x="1866" y="84"/>
                    <a:pt x="1866" y="107"/>
                  </a:cubicBezTo>
                  <a:cubicBezTo>
                    <a:pt x="1866" y="139"/>
                    <a:pt x="1858" y="148"/>
                    <a:pt x="1824" y="148"/>
                  </a:cubicBezTo>
                  <a:cubicBezTo>
                    <a:pt x="1564" y="148"/>
                    <a:pt x="1304" y="148"/>
                    <a:pt x="1044" y="148"/>
                  </a:cubicBezTo>
                  <a:cubicBezTo>
                    <a:pt x="711" y="148"/>
                    <a:pt x="378" y="148"/>
                    <a:pt x="45" y="148"/>
                  </a:cubicBezTo>
                  <a:cubicBezTo>
                    <a:pt x="8" y="148"/>
                    <a:pt x="0" y="140"/>
                    <a:pt x="0" y="103"/>
                  </a:cubicBezTo>
                  <a:cubicBezTo>
                    <a:pt x="0" y="81"/>
                    <a:pt x="0" y="59"/>
                    <a:pt x="0" y="37"/>
                  </a:cubicBezTo>
                  <a:cubicBezTo>
                    <a:pt x="1" y="8"/>
                    <a:pt x="9" y="0"/>
                    <a:pt x="37" y="0"/>
                  </a:cubicBezTo>
                  <a:cubicBezTo>
                    <a:pt x="213" y="0"/>
                    <a:pt x="389" y="0"/>
                    <a:pt x="565" y="0"/>
                  </a:cubicBezTo>
                  <a:cubicBezTo>
                    <a:pt x="688" y="0"/>
                    <a:pt x="811" y="0"/>
                    <a:pt x="93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 157">
              <a:extLst>
                <a:ext uri="{FF2B5EF4-FFF2-40B4-BE49-F238E27FC236}">
                  <a16:creationId xmlns:a16="http://schemas.microsoft.com/office/drawing/2014/main" xmlns="" id="{BF6D080E-1D0B-D14E-86B6-4928A9223C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46213" y="2984500"/>
              <a:ext cx="312737" cy="307975"/>
            </a:xfrm>
            <a:custGeom>
              <a:avLst/>
              <a:gdLst>
                <a:gd name="T0" fmla="*/ 453 w 903"/>
                <a:gd name="T1" fmla="*/ 888 h 890"/>
                <a:gd name="T2" fmla="*/ 11 w 903"/>
                <a:gd name="T3" fmla="*/ 424 h 890"/>
                <a:gd name="T4" fmla="*/ 456 w 903"/>
                <a:gd name="T5" fmla="*/ 1 h 890"/>
                <a:gd name="T6" fmla="*/ 899 w 903"/>
                <a:gd name="T7" fmla="*/ 456 h 890"/>
                <a:gd name="T8" fmla="*/ 453 w 903"/>
                <a:gd name="T9" fmla="*/ 888 h 890"/>
                <a:gd name="T10" fmla="*/ 841 w 903"/>
                <a:gd name="T11" fmla="*/ 445 h 890"/>
                <a:gd name="T12" fmla="*/ 458 w 903"/>
                <a:gd name="T13" fmla="*/ 59 h 890"/>
                <a:gd name="T14" fmla="*/ 68 w 903"/>
                <a:gd name="T15" fmla="*/ 445 h 890"/>
                <a:gd name="T16" fmla="*/ 452 w 903"/>
                <a:gd name="T17" fmla="*/ 831 h 890"/>
                <a:gd name="T18" fmla="*/ 841 w 903"/>
                <a:gd name="T19" fmla="*/ 445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3" h="890">
                  <a:moveTo>
                    <a:pt x="453" y="888"/>
                  </a:moveTo>
                  <a:cubicBezTo>
                    <a:pt x="212" y="890"/>
                    <a:pt x="0" y="685"/>
                    <a:pt x="11" y="424"/>
                  </a:cubicBezTo>
                  <a:cubicBezTo>
                    <a:pt x="20" y="200"/>
                    <a:pt x="204" y="0"/>
                    <a:pt x="456" y="1"/>
                  </a:cubicBezTo>
                  <a:cubicBezTo>
                    <a:pt x="714" y="2"/>
                    <a:pt x="903" y="215"/>
                    <a:pt x="899" y="456"/>
                  </a:cubicBezTo>
                  <a:cubicBezTo>
                    <a:pt x="894" y="692"/>
                    <a:pt x="694" y="889"/>
                    <a:pt x="453" y="888"/>
                  </a:cubicBezTo>
                  <a:close/>
                  <a:moveTo>
                    <a:pt x="841" y="445"/>
                  </a:moveTo>
                  <a:cubicBezTo>
                    <a:pt x="841" y="232"/>
                    <a:pt x="670" y="59"/>
                    <a:pt x="458" y="59"/>
                  </a:cubicBezTo>
                  <a:cubicBezTo>
                    <a:pt x="241" y="58"/>
                    <a:pt x="67" y="230"/>
                    <a:pt x="68" y="445"/>
                  </a:cubicBezTo>
                  <a:cubicBezTo>
                    <a:pt x="69" y="658"/>
                    <a:pt x="241" y="831"/>
                    <a:pt x="452" y="831"/>
                  </a:cubicBezTo>
                  <a:cubicBezTo>
                    <a:pt x="667" y="832"/>
                    <a:pt x="840" y="659"/>
                    <a:pt x="841" y="4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Freeform 158">
              <a:extLst>
                <a:ext uri="{FF2B5EF4-FFF2-40B4-BE49-F238E27FC236}">
                  <a16:creationId xmlns:a16="http://schemas.microsoft.com/office/drawing/2014/main" xmlns="" id="{B5F938E6-1327-D44A-83D2-27CE1F250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2238" y="3033713"/>
              <a:ext cx="206375" cy="207963"/>
            </a:xfrm>
            <a:custGeom>
              <a:avLst/>
              <a:gdLst>
                <a:gd name="T0" fmla="*/ 395 w 599"/>
                <a:gd name="T1" fmla="*/ 395 h 600"/>
                <a:gd name="T2" fmla="*/ 395 w 599"/>
                <a:gd name="T3" fmla="*/ 559 h 600"/>
                <a:gd name="T4" fmla="*/ 355 w 599"/>
                <a:gd name="T5" fmla="*/ 600 h 600"/>
                <a:gd name="T6" fmla="*/ 243 w 599"/>
                <a:gd name="T7" fmla="*/ 600 h 600"/>
                <a:gd name="T8" fmla="*/ 204 w 599"/>
                <a:gd name="T9" fmla="*/ 560 h 600"/>
                <a:gd name="T10" fmla="*/ 204 w 599"/>
                <a:gd name="T11" fmla="*/ 420 h 600"/>
                <a:gd name="T12" fmla="*/ 204 w 599"/>
                <a:gd name="T13" fmla="*/ 395 h 600"/>
                <a:gd name="T14" fmla="*/ 177 w 599"/>
                <a:gd name="T15" fmla="*/ 395 h 600"/>
                <a:gd name="T16" fmla="*/ 39 w 599"/>
                <a:gd name="T17" fmla="*/ 395 h 600"/>
                <a:gd name="T18" fmla="*/ 0 w 599"/>
                <a:gd name="T19" fmla="*/ 356 h 600"/>
                <a:gd name="T20" fmla="*/ 0 w 599"/>
                <a:gd name="T21" fmla="*/ 244 h 600"/>
                <a:gd name="T22" fmla="*/ 38 w 599"/>
                <a:gd name="T23" fmla="*/ 205 h 600"/>
                <a:gd name="T24" fmla="*/ 180 w 599"/>
                <a:gd name="T25" fmla="*/ 205 h 600"/>
                <a:gd name="T26" fmla="*/ 204 w 599"/>
                <a:gd name="T27" fmla="*/ 205 h 600"/>
                <a:gd name="T28" fmla="*/ 204 w 599"/>
                <a:gd name="T29" fmla="*/ 133 h 600"/>
                <a:gd name="T30" fmla="*/ 204 w 599"/>
                <a:gd name="T31" fmla="*/ 35 h 600"/>
                <a:gd name="T32" fmla="*/ 237 w 599"/>
                <a:gd name="T33" fmla="*/ 0 h 600"/>
                <a:gd name="T34" fmla="*/ 361 w 599"/>
                <a:gd name="T35" fmla="*/ 0 h 600"/>
                <a:gd name="T36" fmla="*/ 395 w 599"/>
                <a:gd name="T37" fmla="*/ 38 h 600"/>
                <a:gd name="T38" fmla="*/ 395 w 599"/>
                <a:gd name="T39" fmla="*/ 204 h 600"/>
                <a:gd name="T40" fmla="*/ 417 w 599"/>
                <a:gd name="T41" fmla="*/ 205 h 600"/>
                <a:gd name="T42" fmla="*/ 559 w 599"/>
                <a:gd name="T43" fmla="*/ 205 h 600"/>
                <a:gd name="T44" fmla="*/ 599 w 599"/>
                <a:gd name="T45" fmla="*/ 245 h 600"/>
                <a:gd name="T46" fmla="*/ 599 w 599"/>
                <a:gd name="T47" fmla="*/ 361 h 600"/>
                <a:gd name="T48" fmla="*/ 565 w 599"/>
                <a:gd name="T49" fmla="*/ 395 h 600"/>
                <a:gd name="T50" fmla="*/ 419 w 599"/>
                <a:gd name="T51" fmla="*/ 395 h 600"/>
                <a:gd name="T52" fmla="*/ 395 w 599"/>
                <a:gd name="T53" fmla="*/ 395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9" h="600">
                  <a:moveTo>
                    <a:pt x="395" y="395"/>
                  </a:moveTo>
                  <a:cubicBezTo>
                    <a:pt x="395" y="452"/>
                    <a:pt x="395" y="505"/>
                    <a:pt x="395" y="559"/>
                  </a:cubicBezTo>
                  <a:cubicBezTo>
                    <a:pt x="395" y="590"/>
                    <a:pt x="385" y="600"/>
                    <a:pt x="355" y="600"/>
                  </a:cubicBezTo>
                  <a:cubicBezTo>
                    <a:pt x="317" y="600"/>
                    <a:pt x="280" y="600"/>
                    <a:pt x="243" y="600"/>
                  </a:cubicBezTo>
                  <a:cubicBezTo>
                    <a:pt x="214" y="600"/>
                    <a:pt x="204" y="590"/>
                    <a:pt x="204" y="560"/>
                  </a:cubicBezTo>
                  <a:cubicBezTo>
                    <a:pt x="204" y="513"/>
                    <a:pt x="204" y="466"/>
                    <a:pt x="204" y="420"/>
                  </a:cubicBezTo>
                  <a:cubicBezTo>
                    <a:pt x="204" y="413"/>
                    <a:pt x="204" y="405"/>
                    <a:pt x="204" y="395"/>
                  </a:cubicBezTo>
                  <a:cubicBezTo>
                    <a:pt x="194" y="395"/>
                    <a:pt x="185" y="395"/>
                    <a:pt x="177" y="395"/>
                  </a:cubicBezTo>
                  <a:cubicBezTo>
                    <a:pt x="131" y="395"/>
                    <a:pt x="85" y="395"/>
                    <a:pt x="39" y="395"/>
                  </a:cubicBezTo>
                  <a:cubicBezTo>
                    <a:pt x="9" y="395"/>
                    <a:pt x="0" y="386"/>
                    <a:pt x="0" y="356"/>
                  </a:cubicBezTo>
                  <a:cubicBezTo>
                    <a:pt x="0" y="318"/>
                    <a:pt x="0" y="281"/>
                    <a:pt x="0" y="244"/>
                  </a:cubicBezTo>
                  <a:cubicBezTo>
                    <a:pt x="0" y="216"/>
                    <a:pt x="10" y="205"/>
                    <a:pt x="38" y="205"/>
                  </a:cubicBezTo>
                  <a:cubicBezTo>
                    <a:pt x="86" y="205"/>
                    <a:pt x="133" y="205"/>
                    <a:pt x="180" y="205"/>
                  </a:cubicBezTo>
                  <a:cubicBezTo>
                    <a:pt x="188" y="205"/>
                    <a:pt x="195" y="205"/>
                    <a:pt x="204" y="205"/>
                  </a:cubicBezTo>
                  <a:cubicBezTo>
                    <a:pt x="204" y="179"/>
                    <a:pt x="204" y="156"/>
                    <a:pt x="204" y="133"/>
                  </a:cubicBezTo>
                  <a:cubicBezTo>
                    <a:pt x="204" y="100"/>
                    <a:pt x="204" y="68"/>
                    <a:pt x="204" y="35"/>
                  </a:cubicBezTo>
                  <a:cubicBezTo>
                    <a:pt x="204" y="14"/>
                    <a:pt x="216" y="1"/>
                    <a:pt x="237" y="0"/>
                  </a:cubicBezTo>
                  <a:cubicBezTo>
                    <a:pt x="278" y="0"/>
                    <a:pt x="320" y="0"/>
                    <a:pt x="361" y="0"/>
                  </a:cubicBezTo>
                  <a:cubicBezTo>
                    <a:pt x="383" y="1"/>
                    <a:pt x="395" y="14"/>
                    <a:pt x="395" y="38"/>
                  </a:cubicBezTo>
                  <a:cubicBezTo>
                    <a:pt x="395" y="93"/>
                    <a:pt x="395" y="147"/>
                    <a:pt x="395" y="204"/>
                  </a:cubicBezTo>
                  <a:cubicBezTo>
                    <a:pt x="403" y="204"/>
                    <a:pt x="410" y="205"/>
                    <a:pt x="417" y="205"/>
                  </a:cubicBezTo>
                  <a:cubicBezTo>
                    <a:pt x="465" y="205"/>
                    <a:pt x="512" y="205"/>
                    <a:pt x="559" y="205"/>
                  </a:cubicBezTo>
                  <a:cubicBezTo>
                    <a:pt x="589" y="205"/>
                    <a:pt x="599" y="216"/>
                    <a:pt x="599" y="245"/>
                  </a:cubicBezTo>
                  <a:cubicBezTo>
                    <a:pt x="599" y="283"/>
                    <a:pt x="599" y="322"/>
                    <a:pt x="599" y="361"/>
                  </a:cubicBezTo>
                  <a:cubicBezTo>
                    <a:pt x="599" y="384"/>
                    <a:pt x="588" y="395"/>
                    <a:pt x="565" y="395"/>
                  </a:cubicBezTo>
                  <a:cubicBezTo>
                    <a:pt x="516" y="395"/>
                    <a:pt x="467" y="395"/>
                    <a:pt x="419" y="395"/>
                  </a:cubicBezTo>
                  <a:cubicBezTo>
                    <a:pt x="412" y="395"/>
                    <a:pt x="405" y="395"/>
                    <a:pt x="395" y="3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4" name="Group 876">
            <a:extLst>
              <a:ext uri="{FF2B5EF4-FFF2-40B4-BE49-F238E27FC236}">
                <a16:creationId xmlns:a16="http://schemas.microsoft.com/office/drawing/2014/main" xmlns="" id="{4A5A9C85-DCE6-DD41-A88E-C9BD6696B02E}"/>
              </a:ext>
            </a:extLst>
          </p:cNvPr>
          <p:cNvGrpSpPr>
            <a:grpSpLocks/>
          </p:cNvGrpSpPr>
          <p:nvPr/>
        </p:nvGrpSpPr>
        <p:grpSpPr>
          <a:xfrm>
            <a:off x="9604987" y="3736755"/>
            <a:ext cx="876996" cy="897938"/>
            <a:chOff x="-1612900" y="2984500"/>
            <a:chExt cx="647699" cy="665163"/>
          </a:xfrm>
          <a:solidFill>
            <a:srgbClr val="EBBC00"/>
          </a:solidFill>
        </p:grpSpPr>
        <p:sp>
          <p:nvSpPr>
            <p:cNvPr id="35" name="Freeform 155">
              <a:extLst>
                <a:ext uri="{FF2B5EF4-FFF2-40B4-BE49-F238E27FC236}">
                  <a16:creationId xmlns:a16="http://schemas.microsoft.com/office/drawing/2014/main" xmlns="" id="{5F7F80B0-49DE-2448-A6C5-4C2D59C6D0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52575" y="3049588"/>
              <a:ext cx="527050" cy="528638"/>
            </a:xfrm>
            <a:custGeom>
              <a:avLst/>
              <a:gdLst>
                <a:gd name="T0" fmla="*/ 262 w 1522"/>
                <a:gd name="T1" fmla="*/ 177 h 1529"/>
                <a:gd name="T2" fmla="*/ 99 w 1522"/>
                <a:gd name="T3" fmla="*/ 237 h 1529"/>
                <a:gd name="T4" fmla="*/ 145 w 1522"/>
                <a:gd name="T5" fmla="*/ 449 h 1529"/>
                <a:gd name="T6" fmla="*/ 308 w 1522"/>
                <a:gd name="T7" fmla="*/ 462 h 1529"/>
                <a:gd name="T8" fmla="*/ 465 w 1522"/>
                <a:gd name="T9" fmla="*/ 677 h 1529"/>
                <a:gd name="T10" fmla="*/ 505 w 1522"/>
                <a:gd name="T11" fmla="*/ 908 h 1529"/>
                <a:gd name="T12" fmla="*/ 692 w 1522"/>
                <a:gd name="T13" fmla="*/ 868 h 1529"/>
                <a:gd name="T14" fmla="*/ 831 w 1522"/>
                <a:gd name="T15" fmla="*/ 756 h 1529"/>
                <a:gd name="T16" fmla="*/ 833 w 1522"/>
                <a:gd name="T17" fmla="*/ 874 h 1529"/>
                <a:gd name="T18" fmla="*/ 1028 w 1522"/>
                <a:gd name="T19" fmla="*/ 908 h 1529"/>
                <a:gd name="T20" fmla="*/ 1059 w 1522"/>
                <a:gd name="T21" fmla="*/ 677 h 1529"/>
                <a:gd name="T22" fmla="*/ 1216 w 1522"/>
                <a:gd name="T23" fmla="*/ 464 h 1529"/>
                <a:gd name="T24" fmla="*/ 1383 w 1522"/>
                <a:gd name="T25" fmla="*/ 449 h 1529"/>
                <a:gd name="T26" fmla="*/ 1425 w 1522"/>
                <a:gd name="T27" fmla="*/ 217 h 1529"/>
                <a:gd name="T28" fmla="*/ 1261 w 1522"/>
                <a:gd name="T29" fmla="*/ 177 h 1529"/>
                <a:gd name="T30" fmla="*/ 1197 w 1522"/>
                <a:gd name="T31" fmla="*/ 3 h 1529"/>
                <a:gd name="T32" fmla="*/ 1462 w 1522"/>
                <a:gd name="T33" fmla="*/ 2 h 1529"/>
                <a:gd name="T34" fmla="*/ 1522 w 1522"/>
                <a:gd name="T35" fmla="*/ 1503 h 1529"/>
                <a:gd name="T36" fmla="*/ 3 w 1522"/>
                <a:gd name="T37" fmla="*/ 1529 h 1529"/>
                <a:gd name="T38" fmla="*/ 1 w 1522"/>
                <a:gd name="T39" fmla="*/ 357 h 1529"/>
                <a:gd name="T40" fmla="*/ 72 w 1522"/>
                <a:gd name="T41" fmla="*/ 1 h 1529"/>
                <a:gd name="T42" fmla="*/ 99 w 1522"/>
                <a:gd name="T43" fmla="*/ 773 h 1529"/>
                <a:gd name="T44" fmla="*/ 99 w 1522"/>
                <a:gd name="T45" fmla="*/ 869 h 1529"/>
                <a:gd name="T46" fmla="*/ 290 w 1522"/>
                <a:gd name="T47" fmla="*/ 908 h 1529"/>
                <a:gd name="T48" fmla="*/ 326 w 1522"/>
                <a:gd name="T49" fmla="*/ 674 h 1529"/>
                <a:gd name="T50" fmla="*/ 138 w 1522"/>
                <a:gd name="T51" fmla="*/ 637 h 1529"/>
                <a:gd name="T52" fmla="*/ 99 w 1522"/>
                <a:gd name="T53" fmla="*/ 773 h 1529"/>
                <a:gd name="T54" fmla="*/ 1198 w 1522"/>
                <a:gd name="T55" fmla="*/ 866 h 1529"/>
                <a:gd name="T56" fmla="*/ 1386 w 1522"/>
                <a:gd name="T57" fmla="*/ 908 h 1529"/>
                <a:gd name="T58" fmla="*/ 1425 w 1522"/>
                <a:gd name="T59" fmla="*/ 675 h 1529"/>
                <a:gd name="T60" fmla="*/ 1236 w 1522"/>
                <a:gd name="T61" fmla="*/ 637 h 1529"/>
                <a:gd name="T62" fmla="*/ 1198 w 1522"/>
                <a:gd name="T63" fmla="*/ 772 h 1529"/>
                <a:gd name="T64" fmla="*/ 1425 w 1522"/>
                <a:gd name="T65" fmla="*/ 1122 h 1529"/>
                <a:gd name="T66" fmla="*/ 1235 w 1522"/>
                <a:gd name="T67" fmla="*/ 1085 h 1529"/>
                <a:gd name="T68" fmla="*/ 1198 w 1522"/>
                <a:gd name="T69" fmla="*/ 1319 h 1529"/>
                <a:gd name="T70" fmla="*/ 1385 w 1522"/>
                <a:gd name="T71" fmla="*/ 1356 h 1529"/>
                <a:gd name="T72" fmla="*/ 1426 w 1522"/>
                <a:gd name="T73" fmla="*/ 1220 h 1529"/>
                <a:gd name="T74" fmla="*/ 327 w 1522"/>
                <a:gd name="T75" fmla="*/ 1219 h 1529"/>
                <a:gd name="T76" fmla="*/ 290 w 1522"/>
                <a:gd name="T77" fmla="*/ 1085 h 1529"/>
                <a:gd name="T78" fmla="*/ 99 w 1522"/>
                <a:gd name="T79" fmla="*/ 1123 h 1529"/>
                <a:gd name="T80" fmla="*/ 137 w 1522"/>
                <a:gd name="T81" fmla="*/ 1355 h 1529"/>
                <a:gd name="T82" fmla="*/ 326 w 1522"/>
                <a:gd name="T83" fmla="*/ 1317 h 1529"/>
                <a:gd name="T84" fmla="*/ 466 w 1522"/>
                <a:gd name="T85" fmla="*/ 1221 h 1529"/>
                <a:gd name="T86" fmla="*/ 500 w 1522"/>
                <a:gd name="T87" fmla="*/ 1355 h 1529"/>
                <a:gd name="T88" fmla="*/ 692 w 1522"/>
                <a:gd name="T89" fmla="*/ 1322 h 1529"/>
                <a:gd name="T90" fmla="*/ 657 w 1522"/>
                <a:gd name="T91" fmla="*/ 1085 h 1529"/>
                <a:gd name="T92" fmla="*/ 466 w 1522"/>
                <a:gd name="T93" fmla="*/ 1123 h 1529"/>
                <a:gd name="T94" fmla="*/ 833 w 1522"/>
                <a:gd name="T95" fmla="*/ 1220 h 1529"/>
                <a:gd name="T96" fmla="*/ 874 w 1522"/>
                <a:gd name="T97" fmla="*/ 1356 h 1529"/>
                <a:gd name="T98" fmla="*/ 1059 w 1522"/>
                <a:gd name="T99" fmla="*/ 1319 h 1529"/>
                <a:gd name="T100" fmla="*/ 1022 w 1522"/>
                <a:gd name="T101" fmla="*/ 1085 h 1529"/>
                <a:gd name="T102" fmla="*/ 833 w 1522"/>
                <a:gd name="T103" fmla="*/ 1120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22" h="1529">
                  <a:moveTo>
                    <a:pt x="328" y="2"/>
                  </a:moveTo>
                  <a:cubicBezTo>
                    <a:pt x="306" y="60"/>
                    <a:pt x="285" y="116"/>
                    <a:pt x="262" y="177"/>
                  </a:cubicBezTo>
                  <a:cubicBezTo>
                    <a:pt x="232" y="177"/>
                    <a:pt x="196" y="177"/>
                    <a:pt x="160" y="177"/>
                  </a:cubicBezTo>
                  <a:cubicBezTo>
                    <a:pt x="103" y="177"/>
                    <a:pt x="99" y="181"/>
                    <a:pt x="99" y="237"/>
                  </a:cubicBezTo>
                  <a:cubicBezTo>
                    <a:pt x="99" y="292"/>
                    <a:pt x="99" y="347"/>
                    <a:pt x="99" y="403"/>
                  </a:cubicBezTo>
                  <a:cubicBezTo>
                    <a:pt x="99" y="439"/>
                    <a:pt x="109" y="449"/>
                    <a:pt x="145" y="449"/>
                  </a:cubicBezTo>
                  <a:cubicBezTo>
                    <a:pt x="193" y="449"/>
                    <a:pt x="240" y="450"/>
                    <a:pt x="287" y="449"/>
                  </a:cubicBezTo>
                  <a:cubicBezTo>
                    <a:pt x="298" y="449"/>
                    <a:pt x="304" y="452"/>
                    <a:pt x="308" y="462"/>
                  </a:cubicBezTo>
                  <a:cubicBezTo>
                    <a:pt x="342" y="537"/>
                    <a:pt x="391" y="600"/>
                    <a:pt x="454" y="652"/>
                  </a:cubicBezTo>
                  <a:cubicBezTo>
                    <a:pt x="461" y="658"/>
                    <a:pt x="465" y="669"/>
                    <a:pt x="465" y="677"/>
                  </a:cubicBezTo>
                  <a:cubicBezTo>
                    <a:pt x="466" y="741"/>
                    <a:pt x="466" y="804"/>
                    <a:pt x="466" y="867"/>
                  </a:cubicBezTo>
                  <a:cubicBezTo>
                    <a:pt x="466" y="897"/>
                    <a:pt x="476" y="908"/>
                    <a:pt x="505" y="908"/>
                  </a:cubicBezTo>
                  <a:cubicBezTo>
                    <a:pt x="554" y="909"/>
                    <a:pt x="604" y="909"/>
                    <a:pt x="653" y="908"/>
                  </a:cubicBezTo>
                  <a:cubicBezTo>
                    <a:pt x="683" y="908"/>
                    <a:pt x="692" y="898"/>
                    <a:pt x="692" y="868"/>
                  </a:cubicBezTo>
                  <a:cubicBezTo>
                    <a:pt x="692" y="830"/>
                    <a:pt x="692" y="793"/>
                    <a:pt x="692" y="756"/>
                  </a:cubicBezTo>
                  <a:cubicBezTo>
                    <a:pt x="739" y="756"/>
                    <a:pt x="784" y="756"/>
                    <a:pt x="831" y="756"/>
                  </a:cubicBezTo>
                  <a:cubicBezTo>
                    <a:pt x="832" y="762"/>
                    <a:pt x="832" y="769"/>
                    <a:pt x="832" y="776"/>
                  </a:cubicBezTo>
                  <a:cubicBezTo>
                    <a:pt x="833" y="808"/>
                    <a:pt x="832" y="841"/>
                    <a:pt x="833" y="874"/>
                  </a:cubicBezTo>
                  <a:cubicBezTo>
                    <a:pt x="833" y="895"/>
                    <a:pt x="843" y="907"/>
                    <a:pt x="864" y="908"/>
                  </a:cubicBezTo>
                  <a:cubicBezTo>
                    <a:pt x="918" y="909"/>
                    <a:pt x="973" y="909"/>
                    <a:pt x="1028" y="908"/>
                  </a:cubicBezTo>
                  <a:cubicBezTo>
                    <a:pt x="1049" y="907"/>
                    <a:pt x="1059" y="894"/>
                    <a:pt x="1059" y="871"/>
                  </a:cubicBezTo>
                  <a:cubicBezTo>
                    <a:pt x="1059" y="807"/>
                    <a:pt x="1058" y="742"/>
                    <a:pt x="1059" y="677"/>
                  </a:cubicBezTo>
                  <a:cubicBezTo>
                    <a:pt x="1060" y="668"/>
                    <a:pt x="1065" y="657"/>
                    <a:pt x="1072" y="651"/>
                  </a:cubicBezTo>
                  <a:cubicBezTo>
                    <a:pt x="1134" y="600"/>
                    <a:pt x="1183" y="538"/>
                    <a:pt x="1216" y="464"/>
                  </a:cubicBezTo>
                  <a:cubicBezTo>
                    <a:pt x="1221" y="452"/>
                    <a:pt x="1229" y="449"/>
                    <a:pt x="1241" y="449"/>
                  </a:cubicBezTo>
                  <a:cubicBezTo>
                    <a:pt x="1289" y="450"/>
                    <a:pt x="1336" y="449"/>
                    <a:pt x="1383" y="449"/>
                  </a:cubicBezTo>
                  <a:cubicBezTo>
                    <a:pt x="1414" y="449"/>
                    <a:pt x="1426" y="438"/>
                    <a:pt x="1426" y="407"/>
                  </a:cubicBezTo>
                  <a:cubicBezTo>
                    <a:pt x="1426" y="343"/>
                    <a:pt x="1426" y="280"/>
                    <a:pt x="1425" y="217"/>
                  </a:cubicBezTo>
                  <a:cubicBezTo>
                    <a:pt x="1425" y="188"/>
                    <a:pt x="1414" y="177"/>
                    <a:pt x="1385" y="177"/>
                  </a:cubicBezTo>
                  <a:cubicBezTo>
                    <a:pt x="1344" y="177"/>
                    <a:pt x="1303" y="177"/>
                    <a:pt x="1261" y="177"/>
                  </a:cubicBezTo>
                  <a:cubicBezTo>
                    <a:pt x="1260" y="177"/>
                    <a:pt x="1259" y="176"/>
                    <a:pt x="1261" y="177"/>
                  </a:cubicBezTo>
                  <a:cubicBezTo>
                    <a:pt x="1239" y="117"/>
                    <a:pt x="1218" y="60"/>
                    <a:pt x="1197" y="3"/>
                  </a:cubicBezTo>
                  <a:cubicBezTo>
                    <a:pt x="1199" y="3"/>
                    <a:pt x="1204" y="2"/>
                    <a:pt x="1210" y="2"/>
                  </a:cubicBezTo>
                  <a:cubicBezTo>
                    <a:pt x="1294" y="2"/>
                    <a:pt x="1378" y="2"/>
                    <a:pt x="1462" y="2"/>
                  </a:cubicBezTo>
                  <a:cubicBezTo>
                    <a:pt x="1500" y="2"/>
                    <a:pt x="1522" y="24"/>
                    <a:pt x="1522" y="61"/>
                  </a:cubicBezTo>
                  <a:cubicBezTo>
                    <a:pt x="1522" y="542"/>
                    <a:pt x="1522" y="1022"/>
                    <a:pt x="1522" y="1503"/>
                  </a:cubicBezTo>
                  <a:cubicBezTo>
                    <a:pt x="1522" y="1511"/>
                    <a:pt x="1522" y="1519"/>
                    <a:pt x="1522" y="1529"/>
                  </a:cubicBezTo>
                  <a:cubicBezTo>
                    <a:pt x="1015" y="1529"/>
                    <a:pt x="510" y="1529"/>
                    <a:pt x="3" y="1529"/>
                  </a:cubicBezTo>
                  <a:cubicBezTo>
                    <a:pt x="2" y="1523"/>
                    <a:pt x="1" y="1516"/>
                    <a:pt x="1" y="1509"/>
                  </a:cubicBezTo>
                  <a:cubicBezTo>
                    <a:pt x="1" y="1125"/>
                    <a:pt x="1" y="741"/>
                    <a:pt x="1" y="357"/>
                  </a:cubicBezTo>
                  <a:cubicBezTo>
                    <a:pt x="1" y="263"/>
                    <a:pt x="3" y="168"/>
                    <a:pt x="1" y="73"/>
                  </a:cubicBezTo>
                  <a:cubicBezTo>
                    <a:pt x="0" y="24"/>
                    <a:pt x="31" y="0"/>
                    <a:pt x="72" y="1"/>
                  </a:cubicBezTo>
                  <a:cubicBezTo>
                    <a:pt x="158" y="4"/>
                    <a:pt x="244" y="2"/>
                    <a:pt x="328" y="2"/>
                  </a:cubicBezTo>
                  <a:close/>
                  <a:moveTo>
                    <a:pt x="99" y="773"/>
                  </a:moveTo>
                  <a:cubicBezTo>
                    <a:pt x="99" y="773"/>
                    <a:pt x="99" y="773"/>
                    <a:pt x="99" y="773"/>
                  </a:cubicBezTo>
                  <a:cubicBezTo>
                    <a:pt x="99" y="805"/>
                    <a:pt x="99" y="837"/>
                    <a:pt x="99" y="869"/>
                  </a:cubicBezTo>
                  <a:cubicBezTo>
                    <a:pt x="100" y="896"/>
                    <a:pt x="110" y="908"/>
                    <a:pt x="136" y="908"/>
                  </a:cubicBezTo>
                  <a:cubicBezTo>
                    <a:pt x="188" y="909"/>
                    <a:pt x="239" y="909"/>
                    <a:pt x="290" y="908"/>
                  </a:cubicBezTo>
                  <a:cubicBezTo>
                    <a:pt x="315" y="908"/>
                    <a:pt x="326" y="895"/>
                    <a:pt x="326" y="870"/>
                  </a:cubicBezTo>
                  <a:cubicBezTo>
                    <a:pt x="327" y="805"/>
                    <a:pt x="327" y="739"/>
                    <a:pt x="326" y="674"/>
                  </a:cubicBezTo>
                  <a:cubicBezTo>
                    <a:pt x="326" y="648"/>
                    <a:pt x="315" y="637"/>
                    <a:pt x="288" y="637"/>
                  </a:cubicBezTo>
                  <a:cubicBezTo>
                    <a:pt x="238" y="637"/>
                    <a:pt x="188" y="637"/>
                    <a:pt x="138" y="637"/>
                  </a:cubicBezTo>
                  <a:cubicBezTo>
                    <a:pt x="110" y="637"/>
                    <a:pt x="100" y="647"/>
                    <a:pt x="99" y="675"/>
                  </a:cubicBezTo>
                  <a:cubicBezTo>
                    <a:pt x="99" y="708"/>
                    <a:pt x="99" y="741"/>
                    <a:pt x="99" y="773"/>
                  </a:cubicBezTo>
                  <a:close/>
                  <a:moveTo>
                    <a:pt x="1198" y="772"/>
                  </a:moveTo>
                  <a:cubicBezTo>
                    <a:pt x="1198" y="803"/>
                    <a:pt x="1198" y="835"/>
                    <a:pt x="1198" y="866"/>
                  </a:cubicBezTo>
                  <a:cubicBezTo>
                    <a:pt x="1198" y="897"/>
                    <a:pt x="1208" y="908"/>
                    <a:pt x="1240" y="908"/>
                  </a:cubicBezTo>
                  <a:cubicBezTo>
                    <a:pt x="1289" y="909"/>
                    <a:pt x="1337" y="908"/>
                    <a:pt x="1386" y="908"/>
                  </a:cubicBezTo>
                  <a:cubicBezTo>
                    <a:pt x="1414" y="908"/>
                    <a:pt x="1425" y="897"/>
                    <a:pt x="1425" y="869"/>
                  </a:cubicBezTo>
                  <a:cubicBezTo>
                    <a:pt x="1426" y="805"/>
                    <a:pt x="1426" y="740"/>
                    <a:pt x="1425" y="675"/>
                  </a:cubicBezTo>
                  <a:cubicBezTo>
                    <a:pt x="1425" y="648"/>
                    <a:pt x="1414" y="637"/>
                    <a:pt x="1386" y="637"/>
                  </a:cubicBezTo>
                  <a:cubicBezTo>
                    <a:pt x="1336" y="637"/>
                    <a:pt x="1286" y="637"/>
                    <a:pt x="1236" y="637"/>
                  </a:cubicBezTo>
                  <a:cubicBezTo>
                    <a:pt x="1209" y="637"/>
                    <a:pt x="1198" y="648"/>
                    <a:pt x="1198" y="676"/>
                  </a:cubicBezTo>
                  <a:cubicBezTo>
                    <a:pt x="1198" y="708"/>
                    <a:pt x="1198" y="740"/>
                    <a:pt x="1198" y="772"/>
                  </a:cubicBezTo>
                  <a:close/>
                  <a:moveTo>
                    <a:pt x="1426" y="1220"/>
                  </a:moveTo>
                  <a:cubicBezTo>
                    <a:pt x="1426" y="1187"/>
                    <a:pt x="1426" y="1155"/>
                    <a:pt x="1425" y="1122"/>
                  </a:cubicBezTo>
                  <a:cubicBezTo>
                    <a:pt x="1425" y="1095"/>
                    <a:pt x="1414" y="1085"/>
                    <a:pt x="1387" y="1085"/>
                  </a:cubicBezTo>
                  <a:cubicBezTo>
                    <a:pt x="1337" y="1085"/>
                    <a:pt x="1286" y="1084"/>
                    <a:pt x="1235" y="1085"/>
                  </a:cubicBezTo>
                  <a:cubicBezTo>
                    <a:pt x="1210" y="1085"/>
                    <a:pt x="1198" y="1096"/>
                    <a:pt x="1198" y="1121"/>
                  </a:cubicBezTo>
                  <a:cubicBezTo>
                    <a:pt x="1198" y="1187"/>
                    <a:pt x="1198" y="1253"/>
                    <a:pt x="1198" y="1319"/>
                  </a:cubicBezTo>
                  <a:cubicBezTo>
                    <a:pt x="1198" y="1344"/>
                    <a:pt x="1210" y="1355"/>
                    <a:pt x="1235" y="1355"/>
                  </a:cubicBezTo>
                  <a:cubicBezTo>
                    <a:pt x="1285" y="1356"/>
                    <a:pt x="1335" y="1356"/>
                    <a:pt x="1385" y="1356"/>
                  </a:cubicBezTo>
                  <a:cubicBezTo>
                    <a:pt x="1415" y="1355"/>
                    <a:pt x="1425" y="1345"/>
                    <a:pt x="1426" y="1314"/>
                  </a:cubicBezTo>
                  <a:cubicBezTo>
                    <a:pt x="1426" y="1283"/>
                    <a:pt x="1426" y="1251"/>
                    <a:pt x="1426" y="1220"/>
                  </a:cubicBezTo>
                  <a:close/>
                  <a:moveTo>
                    <a:pt x="326" y="1219"/>
                  </a:moveTo>
                  <a:cubicBezTo>
                    <a:pt x="327" y="1219"/>
                    <a:pt x="327" y="1219"/>
                    <a:pt x="327" y="1219"/>
                  </a:cubicBezTo>
                  <a:cubicBezTo>
                    <a:pt x="327" y="1187"/>
                    <a:pt x="327" y="1154"/>
                    <a:pt x="326" y="1121"/>
                  </a:cubicBezTo>
                  <a:cubicBezTo>
                    <a:pt x="326" y="1096"/>
                    <a:pt x="315" y="1085"/>
                    <a:pt x="290" y="1085"/>
                  </a:cubicBezTo>
                  <a:cubicBezTo>
                    <a:pt x="239" y="1084"/>
                    <a:pt x="188" y="1085"/>
                    <a:pt x="138" y="1085"/>
                  </a:cubicBezTo>
                  <a:cubicBezTo>
                    <a:pt x="110" y="1085"/>
                    <a:pt x="99" y="1095"/>
                    <a:pt x="99" y="1123"/>
                  </a:cubicBezTo>
                  <a:cubicBezTo>
                    <a:pt x="99" y="1188"/>
                    <a:pt x="99" y="1253"/>
                    <a:pt x="99" y="1317"/>
                  </a:cubicBezTo>
                  <a:cubicBezTo>
                    <a:pt x="99" y="1344"/>
                    <a:pt x="110" y="1355"/>
                    <a:pt x="137" y="1355"/>
                  </a:cubicBezTo>
                  <a:cubicBezTo>
                    <a:pt x="188" y="1356"/>
                    <a:pt x="238" y="1356"/>
                    <a:pt x="289" y="1355"/>
                  </a:cubicBezTo>
                  <a:cubicBezTo>
                    <a:pt x="316" y="1355"/>
                    <a:pt x="326" y="1344"/>
                    <a:pt x="326" y="1317"/>
                  </a:cubicBezTo>
                  <a:cubicBezTo>
                    <a:pt x="327" y="1285"/>
                    <a:pt x="326" y="1252"/>
                    <a:pt x="326" y="1219"/>
                  </a:cubicBezTo>
                  <a:close/>
                  <a:moveTo>
                    <a:pt x="466" y="1221"/>
                  </a:moveTo>
                  <a:cubicBezTo>
                    <a:pt x="466" y="1253"/>
                    <a:pt x="466" y="1286"/>
                    <a:pt x="466" y="1319"/>
                  </a:cubicBezTo>
                  <a:cubicBezTo>
                    <a:pt x="466" y="1343"/>
                    <a:pt x="477" y="1355"/>
                    <a:pt x="500" y="1355"/>
                  </a:cubicBezTo>
                  <a:cubicBezTo>
                    <a:pt x="553" y="1356"/>
                    <a:pt x="606" y="1356"/>
                    <a:pt x="658" y="1355"/>
                  </a:cubicBezTo>
                  <a:cubicBezTo>
                    <a:pt x="681" y="1355"/>
                    <a:pt x="692" y="1344"/>
                    <a:pt x="692" y="1322"/>
                  </a:cubicBezTo>
                  <a:cubicBezTo>
                    <a:pt x="692" y="1254"/>
                    <a:pt x="692" y="1186"/>
                    <a:pt x="692" y="1118"/>
                  </a:cubicBezTo>
                  <a:cubicBezTo>
                    <a:pt x="692" y="1095"/>
                    <a:pt x="680" y="1085"/>
                    <a:pt x="657" y="1085"/>
                  </a:cubicBezTo>
                  <a:cubicBezTo>
                    <a:pt x="606" y="1084"/>
                    <a:pt x="554" y="1084"/>
                    <a:pt x="503" y="1085"/>
                  </a:cubicBezTo>
                  <a:cubicBezTo>
                    <a:pt x="477" y="1085"/>
                    <a:pt x="466" y="1096"/>
                    <a:pt x="466" y="1123"/>
                  </a:cubicBezTo>
                  <a:cubicBezTo>
                    <a:pt x="466" y="1155"/>
                    <a:pt x="466" y="1188"/>
                    <a:pt x="466" y="1221"/>
                  </a:cubicBezTo>
                  <a:close/>
                  <a:moveTo>
                    <a:pt x="833" y="1220"/>
                  </a:moveTo>
                  <a:cubicBezTo>
                    <a:pt x="833" y="1251"/>
                    <a:pt x="832" y="1282"/>
                    <a:pt x="833" y="1314"/>
                  </a:cubicBezTo>
                  <a:cubicBezTo>
                    <a:pt x="833" y="1346"/>
                    <a:pt x="842" y="1355"/>
                    <a:pt x="874" y="1356"/>
                  </a:cubicBezTo>
                  <a:cubicBezTo>
                    <a:pt x="923" y="1356"/>
                    <a:pt x="973" y="1356"/>
                    <a:pt x="1022" y="1355"/>
                  </a:cubicBezTo>
                  <a:cubicBezTo>
                    <a:pt x="1047" y="1355"/>
                    <a:pt x="1059" y="1344"/>
                    <a:pt x="1059" y="1319"/>
                  </a:cubicBezTo>
                  <a:cubicBezTo>
                    <a:pt x="1059" y="1253"/>
                    <a:pt x="1059" y="1187"/>
                    <a:pt x="1059" y="1121"/>
                  </a:cubicBezTo>
                  <a:cubicBezTo>
                    <a:pt x="1059" y="1096"/>
                    <a:pt x="1047" y="1085"/>
                    <a:pt x="1022" y="1085"/>
                  </a:cubicBezTo>
                  <a:cubicBezTo>
                    <a:pt x="971" y="1084"/>
                    <a:pt x="919" y="1085"/>
                    <a:pt x="868" y="1085"/>
                  </a:cubicBezTo>
                  <a:cubicBezTo>
                    <a:pt x="844" y="1085"/>
                    <a:pt x="833" y="1095"/>
                    <a:pt x="833" y="1120"/>
                  </a:cubicBezTo>
                  <a:cubicBezTo>
                    <a:pt x="832" y="1153"/>
                    <a:pt x="833" y="1187"/>
                    <a:pt x="833" y="12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837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 156">
              <a:extLst>
                <a:ext uri="{FF2B5EF4-FFF2-40B4-BE49-F238E27FC236}">
                  <a16:creationId xmlns:a16="http://schemas.microsoft.com/office/drawing/2014/main" xmlns="" id="{61C0DBE4-3726-8B4A-A0A2-4DA4D4E45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12900" y="3598863"/>
              <a:ext cx="647699" cy="50800"/>
            </a:xfrm>
            <a:custGeom>
              <a:avLst/>
              <a:gdLst>
                <a:gd name="T0" fmla="*/ 933 w 1867"/>
                <a:gd name="T1" fmla="*/ 0 h 148"/>
                <a:gd name="T2" fmla="*/ 1829 w 1867"/>
                <a:gd name="T3" fmla="*/ 0 h 148"/>
                <a:gd name="T4" fmla="*/ 1866 w 1867"/>
                <a:gd name="T5" fmla="*/ 37 h 148"/>
                <a:gd name="T6" fmla="*/ 1866 w 1867"/>
                <a:gd name="T7" fmla="*/ 107 h 148"/>
                <a:gd name="T8" fmla="*/ 1824 w 1867"/>
                <a:gd name="T9" fmla="*/ 148 h 148"/>
                <a:gd name="T10" fmla="*/ 1044 w 1867"/>
                <a:gd name="T11" fmla="*/ 148 h 148"/>
                <a:gd name="T12" fmla="*/ 45 w 1867"/>
                <a:gd name="T13" fmla="*/ 148 h 148"/>
                <a:gd name="T14" fmla="*/ 0 w 1867"/>
                <a:gd name="T15" fmla="*/ 103 h 148"/>
                <a:gd name="T16" fmla="*/ 0 w 1867"/>
                <a:gd name="T17" fmla="*/ 37 h 148"/>
                <a:gd name="T18" fmla="*/ 37 w 1867"/>
                <a:gd name="T19" fmla="*/ 0 h 148"/>
                <a:gd name="T20" fmla="*/ 565 w 1867"/>
                <a:gd name="T21" fmla="*/ 0 h 148"/>
                <a:gd name="T22" fmla="*/ 933 w 1867"/>
                <a:gd name="T2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7" h="148">
                  <a:moveTo>
                    <a:pt x="933" y="0"/>
                  </a:moveTo>
                  <a:cubicBezTo>
                    <a:pt x="1232" y="0"/>
                    <a:pt x="1530" y="0"/>
                    <a:pt x="1829" y="0"/>
                  </a:cubicBezTo>
                  <a:cubicBezTo>
                    <a:pt x="1857" y="0"/>
                    <a:pt x="1866" y="8"/>
                    <a:pt x="1866" y="37"/>
                  </a:cubicBezTo>
                  <a:cubicBezTo>
                    <a:pt x="1867" y="60"/>
                    <a:pt x="1866" y="84"/>
                    <a:pt x="1866" y="107"/>
                  </a:cubicBezTo>
                  <a:cubicBezTo>
                    <a:pt x="1866" y="139"/>
                    <a:pt x="1858" y="148"/>
                    <a:pt x="1824" y="148"/>
                  </a:cubicBezTo>
                  <a:cubicBezTo>
                    <a:pt x="1564" y="148"/>
                    <a:pt x="1304" y="148"/>
                    <a:pt x="1044" y="148"/>
                  </a:cubicBezTo>
                  <a:cubicBezTo>
                    <a:pt x="711" y="148"/>
                    <a:pt x="378" y="148"/>
                    <a:pt x="45" y="148"/>
                  </a:cubicBezTo>
                  <a:cubicBezTo>
                    <a:pt x="8" y="148"/>
                    <a:pt x="0" y="140"/>
                    <a:pt x="0" y="103"/>
                  </a:cubicBezTo>
                  <a:cubicBezTo>
                    <a:pt x="0" y="81"/>
                    <a:pt x="0" y="59"/>
                    <a:pt x="0" y="37"/>
                  </a:cubicBezTo>
                  <a:cubicBezTo>
                    <a:pt x="1" y="8"/>
                    <a:pt x="9" y="0"/>
                    <a:pt x="37" y="0"/>
                  </a:cubicBezTo>
                  <a:cubicBezTo>
                    <a:pt x="213" y="0"/>
                    <a:pt x="389" y="0"/>
                    <a:pt x="565" y="0"/>
                  </a:cubicBezTo>
                  <a:cubicBezTo>
                    <a:pt x="688" y="0"/>
                    <a:pt x="811" y="0"/>
                    <a:pt x="93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837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 157">
              <a:extLst>
                <a:ext uri="{FF2B5EF4-FFF2-40B4-BE49-F238E27FC236}">
                  <a16:creationId xmlns:a16="http://schemas.microsoft.com/office/drawing/2014/main" xmlns="" id="{CE610160-B9C1-3B4F-8058-25485B658A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46213" y="2984500"/>
              <a:ext cx="312737" cy="307975"/>
            </a:xfrm>
            <a:custGeom>
              <a:avLst/>
              <a:gdLst>
                <a:gd name="T0" fmla="*/ 453 w 903"/>
                <a:gd name="T1" fmla="*/ 888 h 890"/>
                <a:gd name="T2" fmla="*/ 11 w 903"/>
                <a:gd name="T3" fmla="*/ 424 h 890"/>
                <a:gd name="T4" fmla="*/ 456 w 903"/>
                <a:gd name="T5" fmla="*/ 1 h 890"/>
                <a:gd name="T6" fmla="*/ 899 w 903"/>
                <a:gd name="T7" fmla="*/ 456 h 890"/>
                <a:gd name="T8" fmla="*/ 453 w 903"/>
                <a:gd name="T9" fmla="*/ 888 h 890"/>
                <a:gd name="T10" fmla="*/ 841 w 903"/>
                <a:gd name="T11" fmla="*/ 445 h 890"/>
                <a:gd name="T12" fmla="*/ 458 w 903"/>
                <a:gd name="T13" fmla="*/ 59 h 890"/>
                <a:gd name="T14" fmla="*/ 68 w 903"/>
                <a:gd name="T15" fmla="*/ 445 h 890"/>
                <a:gd name="T16" fmla="*/ 452 w 903"/>
                <a:gd name="T17" fmla="*/ 831 h 890"/>
                <a:gd name="T18" fmla="*/ 841 w 903"/>
                <a:gd name="T19" fmla="*/ 445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3" h="890">
                  <a:moveTo>
                    <a:pt x="453" y="888"/>
                  </a:moveTo>
                  <a:cubicBezTo>
                    <a:pt x="212" y="890"/>
                    <a:pt x="0" y="685"/>
                    <a:pt x="11" y="424"/>
                  </a:cubicBezTo>
                  <a:cubicBezTo>
                    <a:pt x="20" y="200"/>
                    <a:pt x="204" y="0"/>
                    <a:pt x="456" y="1"/>
                  </a:cubicBezTo>
                  <a:cubicBezTo>
                    <a:pt x="714" y="2"/>
                    <a:pt x="903" y="215"/>
                    <a:pt x="899" y="456"/>
                  </a:cubicBezTo>
                  <a:cubicBezTo>
                    <a:pt x="894" y="692"/>
                    <a:pt x="694" y="889"/>
                    <a:pt x="453" y="888"/>
                  </a:cubicBezTo>
                  <a:close/>
                  <a:moveTo>
                    <a:pt x="841" y="445"/>
                  </a:moveTo>
                  <a:cubicBezTo>
                    <a:pt x="841" y="232"/>
                    <a:pt x="670" y="59"/>
                    <a:pt x="458" y="59"/>
                  </a:cubicBezTo>
                  <a:cubicBezTo>
                    <a:pt x="241" y="58"/>
                    <a:pt x="67" y="230"/>
                    <a:pt x="68" y="445"/>
                  </a:cubicBezTo>
                  <a:cubicBezTo>
                    <a:pt x="69" y="658"/>
                    <a:pt x="241" y="831"/>
                    <a:pt x="452" y="831"/>
                  </a:cubicBezTo>
                  <a:cubicBezTo>
                    <a:pt x="667" y="832"/>
                    <a:pt x="840" y="659"/>
                    <a:pt x="841" y="4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837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 158">
              <a:extLst>
                <a:ext uri="{FF2B5EF4-FFF2-40B4-BE49-F238E27FC236}">
                  <a16:creationId xmlns:a16="http://schemas.microsoft.com/office/drawing/2014/main" xmlns="" id="{D0F06487-8D18-C444-9D38-EFE390B33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2238" y="3033713"/>
              <a:ext cx="206375" cy="207963"/>
            </a:xfrm>
            <a:custGeom>
              <a:avLst/>
              <a:gdLst>
                <a:gd name="T0" fmla="*/ 395 w 599"/>
                <a:gd name="T1" fmla="*/ 395 h 600"/>
                <a:gd name="T2" fmla="*/ 395 w 599"/>
                <a:gd name="T3" fmla="*/ 559 h 600"/>
                <a:gd name="T4" fmla="*/ 355 w 599"/>
                <a:gd name="T5" fmla="*/ 600 h 600"/>
                <a:gd name="T6" fmla="*/ 243 w 599"/>
                <a:gd name="T7" fmla="*/ 600 h 600"/>
                <a:gd name="T8" fmla="*/ 204 w 599"/>
                <a:gd name="T9" fmla="*/ 560 h 600"/>
                <a:gd name="T10" fmla="*/ 204 w 599"/>
                <a:gd name="T11" fmla="*/ 420 h 600"/>
                <a:gd name="T12" fmla="*/ 204 w 599"/>
                <a:gd name="T13" fmla="*/ 395 h 600"/>
                <a:gd name="T14" fmla="*/ 177 w 599"/>
                <a:gd name="T15" fmla="*/ 395 h 600"/>
                <a:gd name="T16" fmla="*/ 39 w 599"/>
                <a:gd name="T17" fmla="*/ 395 h 600"/>
                <a:gd name="T18" fmla="*/ 0 w 599"/>
                <a:gd name="T19" fmla="*/ 356 h 600"/>
                <a:gd name="T20" fmla="*/ 0 w 599"/>
                <a:gd name="T21" fmla="*/ 244 h 600"/>
                <a:gd name="T22" fmla="*/ 38 w 599"/>
                <a:gd name="T23" fmla="*/ 205 h 600"/>
                <a:gd name="T24" fmla="*/ 180 w 599"/>
                <a:gd name="T25" fmla="*/ 205 h 600"/>
                <a:gd name="T26" fmla="*/ 204 w 599"/>
                <a:gd name="T27" fmla="*/ 205 h 600"/>
                <a:gd name="T28" fmla="*/ 204 w 599"/>
                <a:gd name="T29" fmla="*/ 133 h 600"/>
                <a:gd name="T30" fmla="*/ 204 w 599"/>
                <a:gd name="T31" fmla="*/ 35 h 600"/>
                <a:gd name="T32" fmla="*/ 237 w 599"/>
                <a:gd name="T33" fmla="*/ 0 h 600"/>
                <a:gd name="T34" fmla="*/ 361 w 599"/>
                <a:gd name="T35" fmla="*/ 0 h 600"/>
                <a:gd name="T36" fmla="*/ 395 w 599"/>
                <a:gd name="T37" fmla="*/ 38 h 600"/>
                <a:gd name="T38" fmla="*/ 395 w 599"/>
                <a:gd name="T39" fmla="*/ 204 h 600"/>
                <a:gd name="T40" fmla="*/ 417 w 599"/>
                <a:gd name="T41" fmla="*/ 205 h 600"/>
                <a:gd name="T42" fmla="*/ 559 w 599"/>
                <a:gd name="T43" fmla="*/ 205 h 600"/>
                <a:gd name="T44" fmla="*/ 599 w 599"/>
                <a:gd name="T45" fmla="*/ 245 h 600"/>
                <a:gd name="T46" fmla="*/ 599 w 599"/>
                <a:gd name="T47" fmla="*/ 361 h 600"/>
                <a:gd name="T48" fmla="*/ 565 w 599"/>
                <a:gd name="T49" fmla="*/ 395 h 600"/>
                <a:gd name="T50" fmla="*/ 419 w 599"/>
                <a:gd name="T51" fmla="*/ 395 h 600"/>
                <a:gd name="T52" fmla="*/ 395 w 599"/>
                <a:gd name="T53" fmla="*/ 395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9" h="600">
                  <a:moveTo>
                    <a:pt x="395" y="395"/>
                  </a:moveTo>
                  <a:cubicBezTo>
                    <a:pt x="395" y="452"/>
                    <a:pt x="395" y="505"/>
                    <a:pt x="395" y="559"/>
                  </a:cubicBezTo>
                  <a:cubicBezTo>
                    <a:pt x="395" y="590"/>
                    <a:pt x="385" y="600"/>
                    <a:pt x="355" y="600"/>
                  </a:cubicBezTo>
                  <a:cubicBezTo>
                    <a:pt x="317" y="600"/>
                    <a:pt x="280" y="600"/>
                    <a:pt x="243" y="600"/>
                  </a:cubicBezTo>
                  <a:cubicBezTo>
                    <a:pt x="214" y="600"/>
                    <a:pt x="204" y="590"/>
                    <a:pt x="204" y="560"/>
                  </a:cubicBezTo>
                  <a:cubicBezTo>
                    <a:pt x="204" y="513"/>
                    <a:pt x="204" y="466"/>
                    <a:pt x="204" y="420"/>
                  </a:cubicBezTo>
                  <a:cubicBezTo>
                    <a:pt x="204" y="413"/>
                    <a:pt x="204" y="405"/>
                    <a:pt x="204" y="395"/>
                  </a:cubicBezTo>
                  <a:cubicBezTo>
                    <a:pt x="194" y="395"/>
                    <a:pt x="185" y="395"/>
                    <a:pt x="177" y="395"/>
                  </a:cubicBezTo>
                  <a:cubicBezTo>
                    <a:pt x="131" y="395"/>
                    <a:pt x="85" y="395"/>
                    <a:pt x="39" y="395"/>
                  </a:cubicBezTo>
                  <a:cubicBezTo>
                    <a:pt x="9" y="395"/>
                    <a:pt x="0" y="386"/>
                    <a:pt x="0" y="356"/>
                  </a:cubicBezTo>
                  <a:cubicBezTo>
                    <a:pt x="0" y="318"/>
                    <a:pt x="0" y="281"/>
                    <a:pt x="0" y="244"/>
                  </a:cubicBezTo>
                  <a:cubicBezTo>
                    <a:pt x="0" y="216"/>
                    <a:pt x="10" y="205"/>
                    <a:pt x="38" y="205"/>
                  </a:cubicBezTo>
                  <a:cubicBezTo>
                    <a:pt x="86" y="205"/>
                    <a:pt x="133" y="205"/>
                    <a:pt x="180" y="205"/>
                  </a:cubicBezTo>
                  <a:cubicBezTo>
                    <a:pt x="188" y="205"/>
                    <a:pt x="195" y="205"/>
                    <a:pt x="204" y="205"/>
                  </a:cubicBezTo>
                  <a:cubicBezTo>
                    <a:pt x="204" y="179"/>
                    <a:pt x="204" y="156"/>
                    <a:pt x="204" y="133"/>
                  </a:cubicBezTo>
                  <a:cubicBezTo>
                    <a:pt x="204" y="100"/>
                    <a:pt x="204" y="68"/>
                    <a:pt x="204" y="35"/>
                  </a:cubicBezTo>
                  <a:cubicBezTo>
                    <a:pt x="204" y="14"/>
                    <a:pt x="216" y="1"/>
                    <a:pt x="237" y="0"/>
                  </a:cubicBezTo>
                  <a:cubicBezTo>
                    <a:pt x="278" y="0"/>
                    <a:pt x="320" y="0"/>
                    <a:pt x="361" y="0"/>
                  </a:cubicBezTo>
                  <a:cubicBezTo>
                    <a:pt x="383" y="1"/>
                    <a:pt x="395" y="14"/>
                    <a:pt x="395" y="38"/>
                  </a:cubicBezTo>
                  <a:cubicBezTo>
                    <a:pt x="395" y="93"/>
                    <a:pt x="395" y="147"/>
                    <a:pt x="395" y="204"/>
                  </a:cubicBezTo>
                  <a:cubicBezTo>
                    <a:pt x="403" y="204"/>
                    <a:pt x="410" y="205"/>
                    <a:pt x="417" y="205"/>
                  </a:cubicBezTo>
                  <a:cubicBezTo>
                    <a:pt x="465" y="205"/>
                    <a:pt x="512" y="205"/>
                    <a:pt x="559" y="205"/>
                  </a:cubicBezTo>
                  <a:cubicBezTo>
                    <a:pt x="589" y="205"/>
                    <a:pt x="599" y="216"/>
                    <a:pt x="599" y="245"/>
                  </a:cubicBezTo>
                  <a:cubicBezTo>
                    <a:pt x="599" y="283"/>
                    <a:pt x="599" y="322"/>
                    <a:pt x="599" y="361"/>
                  </a:cubicBezTo>
                  <a:cubicBezTo>
                    <a:pt x="599" y="384"/>
                    <a:pt x="588" y="395"/>
                    <a:pt x="565" y="395"/>
                  </a:cubicBezTo>
                  <a:cubicBezTo>
                    <a:pt x="516" y="395"/>
                    <a:pt x="467" y="395"/>
                    <a:pt x="419" y="395"/>
                  </a:cubicBezTo>
                  <a:cubicBezTo>
                    <a:pt x="412" y="395"/>
                    <a:pt x="405" y="395"/>
                    <a:pt x="395" y="3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837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23D2F8E9-EBD1-CC42-8E5E-71C5C4AB031A}"/>
              </a:ext>
            </a:extLst>
          </p:cNvPr>
          <p:cNvSpPr/>
          <p:nvPr/>
        </p:nvSpPr>
        <p:spPr>
          <a:xfrm>
            <a:off x="1221302" y="5133625"/>
            <a:ext cx="4074333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дрес:</a:t>
            </a: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. Москва, ул.1-я Вольская, д.3, корп.1 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5C97EE36-A31B-DF47-BFAC-4C750A513800}"/>
              </a:ext>
            </a:extLst>
          </p:cNvPr>
          <p:cNvSpPr/>
          <p:nvPr/>
        </p:nvSpPr>
        <p:spPr>
          <a:xfrm>
            <a:off x="1203329" y="3131828"/>
            <a:ext cx="5122641" cy="921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тская городская поликлиника № </a:t>
            </a:r>
            <a:r>
              <a:rPr lang="ru-RU" sz="1600" b="1" dirty="0" smtClean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3, </a:t>
            </a:r>
            <a:r>
              <a:rPr lang="ru-RU" sz="1600" b="1" dirty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илиал № </a:t>
            </a:r>
            <a:r>
              <a:rPr lang="ru-RU" sz="1600" b="1" dirty="0" smtClean="0">
                <a:solidFill>
                  <a:schemeClr val="accent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endParaRPr lang="ru-RU" sz="1600" dirty="0">
              <a:solidFill>
                <a:schemeClr val="accent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endParaRPr lang="ru-RU" sz="1600" dirty="0">
              <a:solidFill>
                <a:schemeClr val="accent6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A6E34409-26AC-6747-9725-B63830F5000A}"/>
              </a:ext>
            </a:extLst>
          </p:cNvPr>
          <p:cNvSpPr/>
          <p:nvPr/>
        </p:nvSpPr>
        <p:spPr>
          <a:xfrm>
            <a:off x="8241277" y="3131828"/>
            <a:ext cx="5122640" cy="921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родская 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ликлиника № </a:t>
            </a: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3, 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илиал № </a:t>
            </a: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endParaRPr lang="ru-RU" sz="16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endParaRPr lang="ru-RU" sz="1600" dirty="0">
              <a:solidFill>
                <a:schemeClr val="accent4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B6D43AE9-642D-994B-B15C-19190172406D}"/>
              </a:ext>
            </a:extLst>
          </p:cNvPr>
          <p:cNvSpPr/>
          <p:nvPr/>
        </p:nvSpPr>
        <p:spPr>
          <a:xfrm>
            <a:off x="8205883" y="5124598"/>
            <a:ext cx="4456165" cy="44342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дрес:</a:t>
            </a:r>
            <a:r>
              <a:rPr lang="ru-RU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. Москва, ул. </a:t>
            </a:r>
            <a:r>
              <a:rPr lang="ru-RU" sz="14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дорубова</a:t>
            </a: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д.2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Часы работы: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недельник-пятница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8:00 </a:t>
            </a:r>
            <a:r>
              <a:rPr lang="ru-RU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:00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уббота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9:00 </a:t>
            </a:r>
            <a:r>
              <a:rPr lang="ru-RU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:00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скресенье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9:00 </a:t>
            </a:r>
            <a:r>
              <a:rPr lang="ru-RU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:00 - прием вызовов врача на дом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9:00 – 15:00 – обслуживание вызовов на дом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браться до этой поликлиники вы сможете на следующем транспорте: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втобусы 31, 722, 893 </a:t>
            </a:r>
            <a:r>
              <a:rPr lang="ru-RU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тановка «Покровская, д.16»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аршрутное такси 1225к </a:t>
            </a:r>
            <a:r>
              <a:rPr lang="ru-RU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ru-RU" sz="1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тановка «Метро Некрасовка»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Стрелка вправо 4">
            <a:extLst>
              <a:ext uri="{FF2B5EF4-FFF2-40B4-BE49-F238E27FC236}">
                <a16:creationId xmlns:a16="http://schemas.microsoft.com/office/drawing/2014/main" xmlns="" id="{044AF60B-6754-504C-B597-C27E59C4EAC6}"/>
              </a:ext>
            </a:extLst>
          </p:cNvPr>
          <p:cNvSpPr/>
          <p:nvPr/>
        </p:nvSpPr>
        <p:spPr>
          <a:xfrm>
            <a:off x="4221277" y="3923394"/>
            <a:ext cx="1401928" cy="702047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9404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70000"/>
            <a:lum/>
          </a:blip>
          <a:srcRect/>
          <a:stretch>
            <a:fillRect b="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xmlns="" id="{8C044FF5-E3BE-4002-B9A8-A68C4D4A17C2}"/>
              </a:ext>
            </a:extLst>
          </p:cNvPr>
          <p:cNvGrpSpPr/>
          <p:nvPr/>
        </p:nvGrpSpPr>
        <p:grpSpPr>
          <a:xfrm flipH="1" flipV="1">
            <a:off x="-9227" y="-7650"/>
            <a:ext cx="10217751" cy="939453"/>
            <a:chOff x="3254046" y="4745829"/>
            <a:chExt cx="8934778" cy="1817442"/>
          </a:xfrm>
          <a:solidFill>
            <a:srgbClr val="9FC63B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xmlns="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xmlns="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4962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0" name="Слайд think-cell" r:id="rId5" imgW="180" imgH="180" progId="TCLayout.ActiveDocument.1">
                  <p:embed/>
                </p:oleObj>
              </mc:Choice>
              <mc:Fallback>
                <p:oleObj name="Слайд think-cell" r:id="rId5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4962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-10131" y="10134744"/>
            <a:ext cx="14265882" cy="557071"/>
          </a:xfrm>
          <a:prstGeom prst="rect">
            <a:avLst/>
          </a:prstGeom>
          <a:solidFill>
            <a:srgbClr val="9FC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592345" y="10252497"/>
            <a:ext cx="966235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800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70" y="10095466"/>
            <a:ext cx="644221" cy="644928"/>
          </a:xfrm>
          <a:prstGeom prst="rect">
            <a:avLst/>
          </a:prstGeom>
        </p:spPr>
      </p:pic>
      <p:sp>
        <p:nvSpPr>
          <p:cNvPr id="54" name="Прямоугольник 31">
            <a:extLst>
              <a:ext uri="{FF2B5EF4-FFF2-40B4-BE49-F238E27FC236}">
                <a16:creationId xmlns:a16="http://schemas.microsoft.com/office/drawing/2014/main" xmlns="" id="{27DED578-B753-4908-AB1F-2780AD628A51}"/>
              </a:ext>
            </a:extLst>
          </p:cNvPr>
          <p:cNvSpPr/>
          <p:nvPr/>
        </p:nvSpPr>
        <p:spPr>
          <a:xfrm>
            <a:off x="18070" y="282144"/>
            <a:ext cx="9421358" cy="362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АРШРУТИЗАЦИЯ НА ВРЕМЯ КАПИТАЛЬНОГО РЕМОНТА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6B69113B-8B8E-5546-B3B3-DF6A9937748D}"/>
              </a:ext>
            </a:extLst>
          </p:cNvPr>
          <p:cNvSpPr/>
          <p:nvPr/>
        </p:nvSpPr>
        <p:spPr>
          <a:xfrm>
            <a:off x="340180" y="1372266"/>
            <a:ext cx="8421198" cy="14866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аши участковые специалисты будут вести прием по адресу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г. Москва, ул.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дорубова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д.2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1, 2, 4 этажах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 по-прежнему сможете записывать своего ребенка к врачу онлайн. При записи обратите внимание на адрес здания и кабинет, указанный у врача.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xmlns="" id="{EB642D4A-D3C9-4143-8B8C-9BB7EE86A761}"/>
              </a:ext>
            </a:extLst>
          </p:cNvPr>
          <p:cNvSpPr/>
          <p:nvPr/>
        </p:nvSpPr>
        <p:spPr>
          <a:xfrm>
            <a:off x="407860" y="3163690"/>
            <a:ext cx="7576413" cy="6015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инеты врачей-специалистов и исследований по адресу </a:t>
            </a: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. Москва, ул. </a:t>
            </a:r>
            <a:r>
              <a:rPr lang="ru-RU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дорубова</a:t>
            </a: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.2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удут </a:t>
            </a:r>
            <a:r>
              <a:rPr lang="ru-RU" sz="16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сполагаться следующим образом: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6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</a:t>
            </a:r>
            <a:r>
              <a:rPr lang="ru-RU" sz="16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таж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журный врач 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6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 этаж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тский 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хирург 207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 этаж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зятие (прием ) анализов 317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 </a:t>
            </a:r>
            <a:r>
              <a:rPr lang="ru-RU" sz="16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таж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частковые педиатры 402,403,405,409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тский эндокринолог, детский невролог 413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фтальмолог 415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ориноларинголог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410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ртопед 412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зятие крови из вены 404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зятие крови из пальца 408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ЗИ 411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КГ 412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114FDC13-2668-804A-A007-6428AB14963B}"/>
              </a:ext>
            </a:extLst>
          </p:cNvPr>
          <p:cNvSpPr/>
          <p:nvPr/>
        </p:nvSpPr>
        <p:spPr>
          <a:xfrm>
            <a:off x="9424159" y="3163690"/>
            <a:ext cx="4456165" cy="1393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равочная: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7(</a:t>
            </a:r>
            <a:r>
              <a:rPr lang="ru-RU" dirty="0" smtClean="0">
                <a:latin typeface="Trebuchet MS" panose="020B0603020202020204" pitchFamily="34" charset="0"/>
              </a:rPr>
              <a:t>499) 638 31 43</a:t>
            </a:r>
            <a:endParaRPr lang="ru-RU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зов врача на дом: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7(</a:t>
            </a:r>
            <a:r>
              <a:rPr lang="ru-RU" dirty="0">
                <a:latin typeface="Trebuchet MS" panose="020B0603020202020204" pitchFamily="34" charset="0"/>
              </a:rPr>
              <a:t>499) 638 31 43</a:t>
            </a:r>
            <a:endParaRPr lang="ru-RU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Параллелограмм 40">
            <a:extLst>
              <a:ext uri="{FF2B5EF4-FFF2-40B4-BE49-F238E27FC236}">
                <a16:creationId xmlns:a16="http://schemas.microsoft.com/office/drawing/2014/main" xmlns="" id="{AB61EC0A-528B-3846-B216-D26DBC7F75B7}"/>
              </a:ext>
            </a:extLst>
          </p:cNvPr>
          <p:cNvSpPr/>
          <p:nvPr/>
        </p:nvSpPr>
        <p:spPr>
          <a:xfrm>
            <a:off x="8088577" y="7286012"/>
            <a:ext cx="5753158" cy="1208388"/>
          </a:xfrm>
          <a:prstGeom prst="parallelogram">
            <a:avLst>
              <a:gd name="adj" fmla="val 44304"/>
            </a:avLst>
          </a:prstGeom>
          <a:solidFill>
            <a:srgbClr val="EBB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2E5AAD22-CCE5-9646-AC92-7F6FA62A776C}"/>
              </a:ext>
            </a:extLst>
          </p:cNvPr>
          <p:cNvSpPr/>
          <p:nvPr/>
        </p:nvSpPr>
        <p:spPr>
          <a:xfrm>
            <a:off x="8423114" y="7373991"/>
            <a:ext cx="5284807" cy="1089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20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сле капитального ремонта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20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ша детская поликлиника станет более комфортной и современной!</a:t>
            </a:r>
          </a:p>
        </p:txBody>
      </p:sp>
    </p:spTree>
    <p:extLst>
      <p:ext uri="{BB962C8B-B14F-4D97-AF65-F5344CB8AC3E}">
        <p14:creationId xmlns:p14="http://schemas.microsoft.com/office/powerpoint/2010/main" val="1487875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70000"/>
            <a:lum/>
          </a:blip>
          <a:srcRect/>
          <a:stretch>
            <a:fillRect b="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xmlns="" id="{8C044FF5-E3BE-4002-B9A8-A68C4D4A17C2}"/>
              </a:ext>
            </a:extLst>
          </p:cNvPr>
          <p:cNvGrpSpPr/>
          <p:nvPr/>
        </p:nvGrpSpPr>
        <p:grpSpPr>
          <a:xfrm flipH="1" flipV="1">
            <a:off x="-9227" y="-7650"/>
            <a:ext cx="10217751" cy="939453"/>
            <a:chOff x="3254046" y="4745829"/>
            <a:chExt cx="8934778" cy="1817442"/>
          </a:xfrm>
          <a:solidFill>
            <a:srgbClr val="9FC63B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xmlns="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xmlns="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4962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4" name="Слайд think-cell" r:id="rId5" imgW="180" imgH="180" progId="TCLayout.ActiveDocument.1">
                  <p:embed/>
                </p:oleObj>
              </mc:Choice>
              <mc:Fallback>
                <p:oleObj name="Слайд think-cell" r:id="rId5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4962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-10131" y="10134744"/>
            <a:ext cx="14265882" cy="557071"/>
          </a:xfrm>
          <a:prstGeom prst="rect">
            <a:avLst/>
          </a:prstGeom>
          <a:solidFill>
            <a:srgbClr val="9FC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592345" y="10265197"/>
            <a:ext cx="966235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800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70" y="10108166"/>
            <a:ext cx="644221" cy="644928"/>
          </a:xfrm>
          <a:prstGeom prst="rect">
            <a:avLst/>
          </a:prstGeom>
        </p:spPr>
      </p:pic>
      <p:sp>
        <p:nvSpPr>
          <p:cNvPr id="54" name="Прямоугольник 31">
            <a:extLst>
              <a:ext uri="{FF2B5EF4-FFF2-40B4-BE49-F238E27FC236}">
                <a16:creationId xmlns:a16="http://schemas.microsoft.com/office/drawing/2014/main" xmlns="" id="{27DED578-B753-4908-AB1F-2780AD628A51}"/>
              </a:ext>
            </a:extLst>
          </p:cNvPr>
          <p:cNvSpPr/>
          <p:nvPr/>
        </p:nvSpPr>
        <p:spPr>
          <a:xfrm>
            <a:off x="18070" y="282144"/>
            <a:ext cx="9421358" cy="362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АРШРУТИЗАЦИЯ НА ВРЕМЯ КАПИТАЛЬНОГО РЕМОНТА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6B69113B-8B8E-5546-B3B3-DF6A9937748D}"/>
              </a:ext>
            </a:extLst>
          </p:cNvPr>
          <p:cNvSpPr/>
          <p:nvPr/>
        </p:nvSpPr>
        <p:spPr>
          <a:xfrm>
            <a:off x="340180" y="1572986"/>
            <a:ext cx="8421198" cy="634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сле ремонта в вашей обновленной поликлинике появятся: 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B6D43AE9-642D-994B-B15C-19190172406D}"/>
              </a:ext>
            </a:extLst>
          </p:cNvPr>
          <p:cNvSpPr/>
          <p:nvPr/>
        </p:nvSpPr>
        <p:spPr>
          <a:xfrm>
            <a:off x="828319" y="3068587"/>
            <a:ext cx="6147668" cy="60199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2400" dirty="0" smtClean="0"/>
              <a:t>Здание </a:t>
            </a:r>
            <a:r>
              <a:rPr lang="ru-RU" sz="2400" dirty="0"/>
              <a:t>не просто приведут в порядок, </a:t>
            </a:r>
            <a:r>
              <a:rPr lang="ru-RU" sz="2400" dirty="0" smtClean="0"/>
              <a:t>это будет </a:t>
            </a:r>
            <a:r>
              <a:rPr lang="ru-RU" sz="2400" dirty="0"/>
              <a:t>совершенно новая поликлиника - современная, красивая, функциональная, комфортная для пациентов и их родителей. Изменится внешний и внутренний вид поликлиники, будут заменены коммуникации, а также будет благоустроена прилегающая территория. Вместе с ремонтом филиал будет оснащён новым и современным оборудованием, новой мебелью. Все изменения и новые возможности поликлиники, которые появятся после завершения капитального ремонта, будут полностью соответствовать обновленному «Московскому стандарту+».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331F43A8-8A1F-0B4E-952F-5729827CB3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6916" y="1728124"/>
            <a:ext cx="6118654" cy="3836118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C012672-07DC-4342-9B72-096CFEBF3665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01" b="7029"/>
          <a:stretch/>
        </p:blipFill>
        <p:spPr>
          <a:xfrm>
            <a:off x="7859342" y="5853580"/>
            <a:ext cx="5993802" cy="3595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3704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70000"/>
            <a:lum/>
          </a:blip>
          <a:srcRect/>
          <a:stretch>
            <a:fillRect b="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xmlns="" id="{8C044FF5-E3BE-4002-B9A8-A68C4D4A17C2}"/>
              </a:ext>
            </a:extLst>
          </p:cNvPr>
          <p:cNvGrpSpPr/>
          <p:nvPr/>
        </p:nvGrpSpPr>
        <p:grpSpPr>
          <a:xfrm flipH="1" flipV="1">
            <a:off x="-9227" y="-7650"/>
            <a:ext cx="10217751" cy="939453"/>
            <a:chOff x="3254046" y="4745829"/>
            <a:chExt cx="8934778" cy="1817442"/>
          </a:xfrm>
          <a:solidFill>
            <a:srgbClr val="9FC63B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xmlns="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xmlns="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>
                <a:defRPr/>
              </a:pPr>
              <a:endParaRPr lang="en-US" sz="1799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4962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4" name="Слайд think-cell" r:id="rId5" imgW="180" imgH="180" progId="TCLayout.ActiveDocument.1">
                  <p:embed/>
                </p:oleObj>
              </mc:Choice>
              <mc:Fallback>
                <p:oleObj name="Слайд think-cell" r:id="rId5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4962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-10131" y="10134744"/>
            <a:ext cx="14265882" cy="557071"/>
          </a:xfrm>
          <a:prstGeom prst="rect">
            <a:avLst/>
          </a:prstGeom>
          <a:solidFill>
            <a:srgbClr val="9FC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592345" y="10265197"/>
            <a:ext cx="966235" cy="33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800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70" y="10108166"/>
            <a:ext cx="644221" cy="644928"/>
          </a:xfrm>
          <a:prstGeom prst="rect">
            <a:avLst/>
          </a:prstGeom>
        </p:spPr>
      </p:pic>
      <p:sp>
        <p:nvSpPr>
          <p:cNvPr id="14" name="Прямоугольник 31">
            <a:extLst>
              <a:ext uri="{FF2B5EF4-FFF2-40B4-BE49-F238E27FC236}">
                <a16:creationId xmlns:a16="http://schemas.microsoft.com/office/drawing/2014/main" xmlns="" id="{A2065A8D-7F75-6E4D-888A-9A99FFFEA504}"/>
              </a:ext>
            </a:extLst>
          </p:cNvPr>
          <p:cNvSpPr/>
          <p:nvPr/>
        </p:nvSpPr>
        <p:spPr>
          <a:xfrm>
            <a:off x="-142795" y="282144"/>
            <a:ext cx="9421358" cy="362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ПОЛНИТЕЛЬНАЯ ИНФОРМАЦИЯ И КОНТАКТЫ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8449DE19-211B-FB4A-83C4-D699EE3E8084}"/>
              </a:ext>
            </a:extLst>
          </p:cNvPr>
          <p:cNvSpPr/>
          <p:nvPr/>
        </p:nvSpPr>
        <p:spPr>
          <a:xfrm>
            <a:off x="340180" y="1572986"/>
            <a:ext cx="8582594" cy="3336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сю подробную информацию о капитальном ремонте можно получить: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523875" indent="-342900">
              <a:lnSpc>
                <a:spcPct val="107000"/>
              </a:lnSpc>
              <a:spcBef>
                <a:spcPts val="300"/>
              </a:spcBef>
              <a:buAutoNum type="arabicPeriod"/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ртал </a:t>
            </a:r>
            <a:r>
              <a:rPr lang="en-US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s.ru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523875" indent="-342900">
              <a:lnSpc>
                <a:spcPct val="107000"/>
              </a:lnSpc>
              <a:spcBef>
                <a:spcPts val="300"/>
              </a:spcBef>
              <a:buAutoNum type="arabicPeriod"/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фициальный сайт поликлиники 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600" dirty="0">
                <a:hlinkClick r:id="rId9"/>
              </a:rPr>
              <a:t>http://dgp143.ru</a:t>
            </a:r>
            <a:r>
              <a:rPr lang="en-US" sz="1600" dirty="0" smtClean="0">
                <a:hlinkClick r:id="rId9"/>
              </a:rPr>
              <a:t>/</a:t>
            </a:r>
            <a:endParaRPr lang="ru-RU" sz="1600" dirty="0" smtClean="0"/>
          </a:p>
          <a:p>
            <a:pPr marL="523875" indent="-342900">
              <a:lnSpc>
                <a:spcPct val="107000"/>
              </a:lnSpc>
              <a:spcBef>
                <a:spcPts val="300"/>
              </a:spcBef>
              <a:buAutoNum type="arabicPeriod"/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фициальные </a:t>
            </a: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ккаунты поликлиники в социальных 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етях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ейсбук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600" dirty="0">
                <a:hlinkClick r:id="rId10"/>
              </a:rPr>
              <a:t>https://</a:t>
            </a:r>
            <a:r>
              <a:rPr lang="en-US" sz="1600" dirty="0" smtClean="0">
                <a:hlinkClick r:id="rId10"/>
              </a:rPr>
              <a:t>www.facebook.com/gbuzdgp143</a:t>
            </a:r>
            <a:endParaRPr lang="ru-RU" sz="1600" dirty="0" smtClean="0"/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контакте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600" dirty="0">
                <a:hlinkClick r:id="rId11"/>
              </a:rPr>
              <a:t>https://</a:t>
            </a:r>
            <a:r>
              <a:rPr lang="en-US" sz="1600" dirty="0" smtClean="0">
                <a:hlinkClick r:id="rId11"/>
              </a:rPr>
              <a:t>vk.com/id482564657</a:t>
            </a:r>
            <a:endParaRPr lang="ru-RU" sz="1600" dirty="0" smtClean="0"/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</a:t>
            </a:r>
            <a:r>
              <a:rPr lang="ru-RU" sz="1600" dirty="0" err="1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стаграм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600" dirty="0">
                <a:hlinkClick r:id="rId12"/>
              </a:rPr>
              <a:t>https://www.instagram.com/dgp143/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en-US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 Телефон </a:t>
            </a: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рячей линии 8(495)531-69-98</a:t>
            </a:r>
          </a:p>
          <a:p>
            <a:pPr marL="180975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.  Телефон </a:t>
            </a: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рячей линии поликлиники 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 (926) 400-32-00</a:t>
            </a: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B18D2477-8730-2545-B13C-2F911A573E8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835" y="5906046"/>
            <a:ext cx="4269915" cy="4241823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F2DDFC3E-1C81-7D46-898A-DC9D4BE7EE5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62" y="5480916"/>
            <a:ext cx="5476746" cy="363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707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13</TotalTime>
  <Words>610</Words>
  <Application>Microsoft Office PowerPoint</Application>
  <PresentationFormat>Произвольный</PresentationFormat>
  <Paragraphs>101</Paragraphs>
  <Slides>8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Trebuchet MS</vt:lpstr>
      <vt:lpstr>Verdana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митрий</dc:creator>
  <cp:lastModifiedBy>Samburova</cp:lastModifiedBy>
  <cp:revision>212</cp:revision>
  <cp:lastPrinted>2019-11-08T10:06:24Z</cp:lastPrinted>
  <dcterms:created xsi:type="dcterms:W3CDTF">2018-12-19T12:07:08Z</dcterms:created>
  <dcterms:modified xsi:type="dcterms:W3CDTF">2019-11-08T10:07:38Z</dcterms:modified>
</cp:coreProperties>
</file>